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Default Extension="tif" ContentType="image/t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12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4.xml" ContentType="application/vnd.openxmlformats-officedocument.theme+xml"/>
  <Override PartName="/ppt/tags/tag16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5.xml" ContentType="application/vnd.openxmlformats-officedocument.theme+xml"/>
  <Override PartName="/ppt/tags/tag17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6.xml" ContentType="application/vnd.openxmlformats-officedocument.theme+xml"/>
  <Override PartName="/ppt/tags/tag18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8.xml" ContentType="application/vnd.openxmlformats-officedocument.theme+xml"/>
  <Override PartName="/ppt/tags/tag29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9.xml" ContentType="application/vnd.openxmlformats-officedocument.theme+xml"/>
  <Override PartName="/ppt/tags/tag30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20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21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2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2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4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5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2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27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28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29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30.xml" ContentType="application/vnd.openxmlformats-officedocument.theme+xml"/>
  <Override PartName="/ppt/tags/tag70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heme/theme31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32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33.xml" ContentType="application/vnd.openxmlformats-officedocument.theme+xml"/>
  <Override PartName="/ppt/theme/theme3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5.xml" ContentType="application/vnd.openxmlformats-officedocument.presentationml.tags+xml"/>
  <Override PartName="/ppt/notesSlides/notesSlide3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tags/tag78.xml" ContentType="application/vnd.openxmlformats-officedocument.presentationml.tags+xml"/>
  <Override PartName="/ppt/notesSlides/notesSlide5.xml" ContentType="application/vnd.openxmlformats-officedocument.presentationml.notesSlide+xml"/>
  <Override PartName="/ppt/tags/tag79.xml" ContentType="application/vnd.openxmlformats-officedocument.presentationml.tags+xml"/>
  <Override PartName="/ppt/notesSlides/notesSlide6.xml" ContentType="application/vnd.openxmlformats-officedocument.presentationml.notesSlide+xml"/>
  <Override PartName="/ppt/tags/tag80.xml" ContentType="application/vnd.openxmlformats-officedocument.presentationml.tags+xml"/>
  <Override PartName="/ppt/notesSlides/notesSlide7.xml" ContentType="application/vnd.openxmlformats-officedocument.presentationml.notesSlide+xml"/>
  <Override PartName="/ppt/tags/tag8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82.xml" ContentType="application/vnd.openxmlformats-officedocument.presentationml.tags+xml"/>
  <Override PartName="/ppt/notesSlides/notesSlide10.xml" ContentType="application/vnd.openxmlformats-officedocument.presentationml.notesSlide+xml"/>
  <Override PartName="/ppt/tags/tag83.xml" ContentType="application/vnd.openxmlformats-officedocument.presentationml.tags+xml"/>
  <Override PartName="/ppt/notesSlides/notesSlide11.xml" ContentType="application/vnd.openxmlformats-officedocument.presentationml.notesSlide+xml"/>
  <Override PartName="/ppt/tags/tag84.xml" ContentType="application/vnd.openxmlformats-officedocument.presentationml.tags+xml"/>
  <Override PartName="/ppt/notesSlides/notesSlide12.xml" ContentType="application/vnd.openxmlformats-officedocument.presentationml.notesSlide+xml"/>
  <Override PartName="/ppt/tags/tag85.xml" ContentType="application/vnd.openxmlformats-officedocument.presentationml.tags+xml"/>
  <Override PartName="/ppt/notesSlides/notesSlide13.xml" ContentType="application/vnd.openxmlformats-officedocument.presentationml.notesSlide+xml"/>
  <Override PartName="/ppt/tags/tag8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7.xml" ContentType="application/vnd.openxmlformats-officedocument.presentationml.tags+xml"/>
  <Override PartName="/ppt/notesSlides/notesSlide16.xml" ContentType="application/vnd.openxmlformats-officedocument.presentationml.notesSlide+xml"/>
  <Override PartName="/ppt/tags/tag88.xml" ContentType="application/vnd.openxmlformats-officedocument.presentationml.tags+xml"/>
  <Override PartName="/ppt/notesSlides/notesSlide17.xml" ContentType="application/vnd.openxmlformats-officedocument.presentationml.notesSlide+xml"/>
  <Override PartName="/ppt/tags/tag89.xml" ContentType="application/vnd.openxmlformats-officedocument.presentationml.tags+xml"/>
  <Override PartName="/ppt/notesSlides/notesSlide18.xml" ContentType="application/vnd.openxmlformats-officedocument.presentationml.notesSlide+xml"/>
  <Override PartName="/ppt/theme/themeOverride2.xml" ContentType="application/vnd.openxmlformats-officedocument.themeOverride+xml"/>
  <Override PartName="/ppt/tags/tag90.xml" ContentType="application/vnd.openxmlformats-officedocument.presentationml.tags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24" r:id="rId5"/>
    <p:sldMasterId id="2147483737" r:id="rId6"/>
    <p:sldMasterId id="2147483768" r:id="rId7"/>
    <p:sldMasterId id="2147483784" r:id="rId8"/>
    <p:sldMasterId id="2147483804" r:id="rId9"/>
    <p:sldMasterId id="2147483819" r:id="rId10"/>
    <p:sldMasterId id="2147483837" r:id="rId11"/>
    <p:sldMasterId id="2147483854" r:id="rId12"/>
    <p:sldMasterId id="2147483868" r:id="rId13"/>
    <p:sldMasterId id="2147483882" r:id="rId14"/>
    <p:sldMasterId id="2147483893" r:id="rId15"/>
    <p:sldMasterId id="2147483958" r:id="rId16"/>
    <p:sldMasterId id="2147484042" r:id="rId17"/>
    <p:sldMasterId id="2147484064" r:id="rId18"/>
    <p:sldMasterId id="2147484082" r:id="rId19"/>
    <p:sldMasterId id="2147484104" r:id="rId20"/>
    <p:sldMasterId id="2147484130" r:id="rId21"/>
    <p:sldMasterId id="2147484141" r:id="rId22"/>
    <p:sldMasterId id="2147484151" r:id="rId23"/>
    <p:sldMasterId id="2147484172" r:id="rId24"/>
    <p:sldMasterId id="2147484184" r:id="rId25"/>
    <p:sldMasterId id="2147484196" r:id="rId26"/>
    <p:sldMasterId id="2147484213" r:id="rId27"/>
    <p:sldMasterId id="2147484225" r:id="rId28"/>
    <p:sldMasterId id="2147484238" r:id="rId29"/>
    <p:sldMasterId id="2147484262" r:id="rId30"/>
    <p:sldMasterId id="2147484273" r:id="rId31"/>
    <p:sldMasterId id="2147484304" r:id="rId32"/>
    <p:sldMasterId id="2147484322" r:id="rId33"/>
    <p:sldMasterId id="2147484349" r:id="rId34"/>
    <p:sldMasterId id="2147484391" r:id="rId35"/>
  </p:sldMasterIdLst>
  <p:notesMasterIdLst>
    <p:notesMasterId r:id="rId55"/>
  </p:notesMasterIdLst>
  <p:handoutMasterIdLst>
    <p:handoutMasterId r:id="rId56"/>
  </p:handoutMasterIdLst>
  <p:sldIdLst>
    <p:sldId id="1002" r:id="rId36"/>
    <p:sldId id="848" r:id="rId37"/>
    <p:sldId id="1060" r:id="rId38"/>
    <p:sldId id="1037" r:id="rId39"/>
    <p:sldId id="1038" r:id="rId40"/>
    <p:sldId id="1061" r:id="rId41"/>
    <p:sldId id="955" r:id="rId42"/>
    <p:sldId id="1062" r:id="rId43"/>
    <p:sldId id="883" r:id="rId44"/>
    <p:sldId id="1063" r:id="rId45"/>
    <p:sldId id="964" r:id="rId46"/>
    <p:sldId id="870" r:id="rId47"/>
    <p:sldId id="970" r:id="rId48"/>
    <p:sldId id="1064" r:id="rId49"/>
    <p:sldId id="1058" r:id="rId50"/>
    <p:sldId id="1065" r:id="rId51"/>
    <p:sldId id="906" r:id="rId52"/>
    <p:sldId id="1066" r:id="rId53"/>
    <p:sldId id="1020" r:id="rId54"/>
  </p:sldIdLst>
  <p:sldSz cx="9144000" cy="5715000" type="screen16x10"/>
  <p:notesSz cx="6735763" cy="9866313"/>
  <p:custDataLst>
    <p:tags r:id="rId57"/>
  </p:custDataLst>
  <p:defaultTextStyle>
    <a:defPPr>
      <a:defRPr lang="nb-NO"/>
    </a:defPPr>
    <a:lvl1pPr marL="0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56553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713111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69666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426219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82773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139332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95885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852441" algn="l" defTabSz="71311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B621F7A-69B6-6341-9FFE-A19617C4E363}">
          <p14:sldIdLst>
            <p14:sldId id="1002"/>
            <p14:sldId id="848"/>
            <p14:sldId id="1060"/>
            <p14:sldId id="1037"/>
            <p14:sldId id="1038"/>
            <p14:sldId id="1061"/>
            <p14:sldId id="955"/>
            <p14:sldId id="1062"/>
            <p14:sldId id="883"/>
            <p14:sldId id="1063"/>
            <p14:sldId id="964"/>
            <p14:sldId id="870"/>
            <p14:sldId id="970"/>
            <p14:sldId id="1064"/>
            <p14:sldId id="1058"/>
            <p14:sldId id="1065"/>
            <p14:sldId id="906"/>
            <p14:sldId id="1066"/>
            <p14:sldId id="10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08">
          <p15:clr>
            <a:srgbClr val="A4A3A4"/>
          </p15:clr>
        </p15:guide>
        <p15:guide id="4" pos="212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verre Stabel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DD4A"/>
    <a:srgbClr val="918D8A"/>
    <a:srgbClr val="CBCCC5"/>
    <a:srgbClr val="FFE955"/>
    <a:srgbClr val="51B3C7"/>
    <a:srgbClr val="DADADA"/>
    <a:srgbClr val="DCDCDC"/>
    <a:srgbClr val="DDDDDD"/>
    <a:srgbClr val="E9E9E9"/>
    <a:srgbClr val="E6E6E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D}">
  <a:tblStyle styleId="{5C22544A-7EE6-4342-B048-85BDC9FD1C3D}" styleName="GET Tabell">
    <a:wholeTbl>
      <a:tcTxStyle>
        <a:fontRef idx="minor">
          <a:prstClr val="black"/>
        </a:fontRef>
        <a:schemeClr val="accent1"/>
      </a:tcTxStyle>
      <a:tcStyle>
        <a:tcBdr>
          <a:left>
            <a:ln w="6350" cmpd="sng">
              <a:solidFill>
                <a:schemeClr val="accent1"/>
              </a:solidFill>
            </a:ln>
          </a:left>
          <a:right>
            <a:ln w="6350" cmpd="sng">
              <a:solidFill>
                <a:schemeClr val="accent1"/>
              </a:solidFill>
            </a:ln>
          </a:right>
          <a:top>
            <a:ln w="6350" cmpd="sng">
              <a:solidFill>
                <a:schemeClr val="accent1"/>
              </a:solidFill>
            </a:ln>
          </a:top>
          <a:bottom>
            <a:ln w="6350" cmpd="sng">
              <a:solidFill>
                <a:schemeClr val="accent1"/>
              </a:solidFill>
            </a:ln>
          </a:bottom>
          <a:insideH>
            <a:ln w="6350" cmpd="sng">
              <a:solidFill>
                <a:schemeClr val="accent1"/>
              </a:solidFill>
            </a:ln>
          </a:insideH>
          <a:insideV>
            <a:ln w="635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firstRow>
      <a:tcTxStyle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01" autoAdjust="0"/>
    <p:restoredTop sz="90862" autoAdjust="0"/>
  </p:normalViewPr>
  <p:slideViewPr>
    <p:cSldViewPr snapToGrid="0">
      <p:cViewPr varScale="1">
        <p:scale>
          <a:sx n="132" d="100"/>
          <a:sy n="132" d="100"/>
        </p:scale>
        <p:origin x="216" y="126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241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3984" y="84"/>
      </p:cViewPr>
      <p:guideLst>
        <p:guide orient="horz" pos="2880"/>
        <p:guide pos="2160"/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4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" Target="slides/slide7.xml"/><Relationship Id="rId47" Type="http://schemas.openxmlformats.org/officeDocument/2006/relationships/slide" Target="slides/slide12.xml"/><Relationship Id="rId50" Type="http://schemas.openxmlformats.org/officeDocument/2006/relationships/slide" Target="slides/slide15.xml"/><Relationship Id="rId55" Type="http://schemas.openxmlformats.org/officeDocument/2006/relationships/notesMaster" Target="notesMasters/notesMaster1.xml"/><Relationship Id="rId63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2.xml"/><Relationship Id="rId40" Type="http://schemas.openxmlformats.org/officeDocument/2006/relationships/slide" Target="slides/slide5.xml"/><Relationship Id="rId45" Type="http://schemas.openxmlformats.org/officeDocument/2006/relationships/slide" Target="slides/slide10.xml"/><Relationship Id="rId53" Type="http://schemas.openxmlformats.org/officeDocument/2006/relationships/slide" Target="slides/slide18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" Target="slides/slide8.xml"/><Relationship Id="rId48" Type="http://schemas.openxmlformats.org/officeDocument/2006/relationships/slide" Target="slides/slide13.xml"/><Relationship Id="rId56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16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" Target="slides/slide3.xml"/><Relationship Id="rId46" Type="http://schemas.openxmlformats.org/officeDocument/2006/relationships/slide" Target="slides/slide11.xml"/><Relationship Id="rId59" Type="http://schemas.openxmlformats.org/officeDocument/2006/relationships/presProps" Target="pres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6.xml"/><Relationship Id="rId54" Type="http://schemas.openxmlformats.org/officeDocument/2006/relationships/slide" Target="slides/slide19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1.xml"/><Relationship Id="rId49" Type="http://schemas.openxmlformats.org/officeDocument/2006/relationships/slide" Target="slides/slide14.xml"/><Relationship Id="rId57" Type="http://schemas.openxmlformats.org/officeDocument/2006/relationships/tags" Target="tags/tag1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" Target="slides/slide9.xml"/><Relationship Id="rId52" Type="http://schemas.openxmlformats.org/officeDocument/2006/relationships/slide" Target="slides/slide1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306CA085-7839-4137-A14E-45B93954E3FE}" type="datetimeFigureOut">
              <a:rPr lang="nb-NO" smtClean="0"/>
              <a:t>11.10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E58B2B12-2F67-4279-A83B-029A0B50E6C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51115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5F1FFBC5-AD39-4272-A7E4-CF70A50C103A}" type="datetimeFigureOut">
              <a:rPr lang="nb-NO" smtClean="0"/>
              <a:t>11.10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233488"/>
            <a:ext cx="5326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7" rIns="91434" bIns="45717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4" tIns="45717" rIns="91434" bIns="45717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D79099A0-6F0D-4C80-A41D-E706A49B96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5875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23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45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68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90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08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31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54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77" algn="l" defTabSz="91424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3350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29539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83908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20735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369894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27687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8801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82895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03199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65965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9099A0-6F0D-4C80-A41D-E706A49B96B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426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9756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71211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9099A0-6F0D-4C80-A41D-E706A49B96B7}" type="slidenum">
              <a:rPr kumimoji="0" lang="nb-NO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022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cs typeface="Metric Ligh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9099A0-6F0D-4C80-A41D-E706A49B96B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258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8333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3135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bg1"/>
                </a:solidFill>
              </a:rPr>
              <a:t>FOR Å SIKRE GET OPPLEVELSEN TIL ALLE VÅRE K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13448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3488"/>
            <a:ext cx="5326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9099A0-6F0D-4C80-A41D-E706A49B96B7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7300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8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0.gi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6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2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6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2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0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6.bin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2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3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.bin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0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pn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4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6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7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7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7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7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8.bin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8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50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51.bin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2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2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54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5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2.png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2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9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9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8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4.bin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5.bin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0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0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0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1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2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7.bin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190587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28711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300" baseline="0">
                <a:solidFill>
                  <a:schemeClr val="tx1"/>
                </a:solidFill>
              </a:defRPr>
            </a:lvl1pPr>
            <a:lvl2pPr>
              <a:defRPr sz="1200" baseline="0">
                <a:solidFill>
                  <a:schemeClr val="tx1"/>
                </a:solidFill>
              </a:defRPr>
            </a:lvl2pPr>
            <a:lvl3pPr>
              <a:defRPr sz="1000" baseline="0">
                <a:solidFill>
                  <a:schemeClr val="tx1"/>
                </a:solidFill>
              </a:defRPr>
            </a:lvl3pPr>
            <a:lvl4pPr>
              <a:defRPr sz="900" baseline="0">
                <a:solidFill>
                  <a:schemeClr val="tx1"/>
                </a:solidFill>
              </a:defRPr>
            </a:lvl4pPr>
            <a:lvl5pPr>
              <a:defRPr sz="90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66"/>
            <a:ext cx="8229600" cy="66410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335589"/>
            <a:ext cx="2895600" cy="307722"/>
          </a:xfrm>
          <a:prstGeom prst="rect">
            <a:avLst/>
          </a:prstGeom>
          <a:ln/>
        </p:spPr>
        <p:txBody>
          <a:bodyPr lIns="76146" tIns="38073" rIns="76146" bIns="38073"/>
          <a:lstStyle>
            <a:lvl1pPr>
              <a:defRPr/>
            </a:lvl1pPr>
          </a:lstStyle>
          <a:p>
            <a:pPr defTabSz="761474">
              <a:defRPr/>
            </a:pPr>
            <a:endParaRPr lang="en-GB" sz="15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8610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5793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7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9558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6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83570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0361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1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03626438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4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726874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3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6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5921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300" baseline="0">
                <a:solidFill>
                  <a:schemeClr val="tx1"/>
                </a:solidFill>
              </a:defRPr>
            </a:lvl1pPr>
            <a:lvl2pPr>
              <a:defRPr sz="1200" baseline="0">
                <a:solidFill>
                  <a:schemeClr val="tx1"/>
                </a:solidFill>
              </a:defRPr>
            </a:lvl2pPr>
            <a:lvl3pPr>
              <a:defRPr sz="1000" baseline="0">
                <a:solidFill>
                  <a:schemeClr val="tx1"/>
                </a:solidFill>
              </a:defRPr>
            </a:lvl3pPr>
            <a:lvl4pPr>
              <a:defRPr sz="900" baseline="0">
                <a:solidFill>
                  <a:schemeClr val="tx1"/>
                </a:solidFill>
              </a:defRPr>
            </a:lvl4pPr>
            <a:lvl5pPr>
              <a:defRPr sz="90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66"/>
            <a:ext cx="8229600" cy="66410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335589"/>
            <a:ext cx="2895600" cy="307722"/>
          </a:xfrm>
          <a:prstGeom prst="rect">
            <a:avLst/>
          </a:prstGeom>
          <a:ln/>
        </p:spPr>
        <p:txBody>
          <a:bodyPr lIns="76146" tIns="38073" rIns="76146" bIns="38073"/>
          <a:lstStyle>
            <a:lvl1pPr>
              <a:defRPr/>
            </a:lvl1pPr>
          </a:lstStyle>
          <a:p>
            <a:pPr defTabSz="761474">
              <a:defRPr/>
            </a:pPr>
            <a:endParaRPr lang="en-GB" sz="15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49928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401003"/>
            <a:ext cx="8211599" cy="352601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206373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0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3191570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60130406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13" y="1943417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13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6"/>
            <a:ext cx="4014000" cy="36778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2167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 rot="16200000">
            <a:off x="-126000" y="1160024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3470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0868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 rot="16200000">
            <a:off x="-126000" y="34157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 rot="16200000">
            <a:off x="-126000" y="235350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0285522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18" y="781568"/>
            <a:ext cx="3988801" cy="32316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83"/>
            <a:ext cx="3988800" cy="330213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67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3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6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16200000">
            <a:off x="-126000" y="1534878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 rot="16200000">
            <a:off x="-126000" y="1014733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 rot="16200000">
            <a:off x="-126000" y="260981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 rot="16200000">
            <a:off x="-126000" y="31810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2" y="1085812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2" y="3271011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01406822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32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32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1143000" y="798148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 rot="16200000">
            <a:off x="-126000" y="140935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4966978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6000" y="3503623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6000" y="2959887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5456501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19877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4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02598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>
                <a:solidFill>
                  <a:srgbClr val="F41C50"/>
                </a:solidFill>
              </a:rPr>
              <a:t>Private &amp; </a:t>
            </a:r>
            <a:r>
              <a:rPr lang="nb-NO" dirty="0" err="1">
                <a:solidFill>
                  <a:srgbClr val="F41C50"/>
                </a:solidFill>
              </a:rPr>
              <a:t>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0820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7899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38157" y="5439600"/>
            <a:ext cx="355867" cy="107722"/>
          </a:xfrm>
        </p:spPr>
        <p:txBody>
          <a:bodyPr/>
          <a:lstStyle/>
          <a:p>
            <a:fld id="{B848DBCE-F743-4F1A-A505-5DF8951D5F60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27122" y="5439600"/>
            <a:ext cx="89769" cy="107722"/>
          </a:xfrm>
        </p:spPr>
        <p:txBody>
          <a:bodyPr/>
          <a:lstStyle/>
          <a:p>
            <a:fld id="{97936681-4B71-4660-B1A1-61F7414CB65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1368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>
          <a:xfrm>
            <a:off x="4430955" y="5438964"/>
            <a:ext cx="282129" cy="107722"/>
          </a:xfrm>
        </p:spPr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299125"/>
            <a:ext cx="8211599" cy="392522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209117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434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481966" y="374309"/>
            <a:ext cx="8212454" cy="306387"/>
          </a:xfrm>
        </p:spPr>
        <p:txBody>
          <a:bodyPr anchor="ctr">
            <a:normAutofit/>
          </a:bodyPr>
          <a:lstStyle>
            <a:lvl1pPr marL="0" indent="0">
              <a:buNone/>
              <a:defRPr sz="1400" b="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nb-NO" b="1" dirty="0"/>
              <a:t>Placeholder for </a:t>
            </a:r>
            <a:r>
              <a:rPr lang="nb-NO" b="1" dirty="0" err="1"/>
              <a:t>tex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37859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401003"/>
            <a:ext cx="8211599" cy="352601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997502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7017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855220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13" y="1943417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13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6"/>
            <a:ext cx="4014000" cy="36778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2167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 rot="16200000">
            <a:off x="-126000" y="1160024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3470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0868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 rot="16200000">
            <a:off x="-126000" y="34157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 rot="16200000">
            <a:off x="-126000" y="235350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88235426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18" y="781568"/>
            <a:ext cx="3988801" cy="32316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83"/>
            <a:ext cx="3988800" cy="330213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67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3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6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16200000">
            <a:off x="-126000" y="1534878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 rot="16200000">
            <a:off x="-126000" y="1014733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 rot="16200000">
            <a:off x="-126000" y="260981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 rot="16200000">
            <a:off x="-126000" y="31810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2" y="1085812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2" y="3271011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12053500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32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32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1143000" y="798148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 rot="16200000">
            <a:off x="-126000" y="140935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4966978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6000" y="3503623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6000" y="2959887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737220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19877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4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6898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>
                <a:solidFill>
                  <a:srgbClr val="F41C50"/>
                </a:solidFill>
              </a:rPr>
              <a:t>Private &amp; </a:t>
            </a:r>
            <a:r>
              <a:rPr lang="nb-NO" dirty="0" err="1">
                <a:solidFill>
                  <a:srgbClr val="F41C50"/>
                </a:solidFill>
              </a:rPr>
              <a:t>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6209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4052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38157" y="5439600"/>
            <a:ext cx="355867" cy="107722"/>
          </a:xfrm>
        </p:spPr>
        <p:txBody>
          <a:bodyPr/>
          <a:lstStyle/>
          <a:p>
            <a:fld id="{B848DBCE-F743-4F1A-A505-5DF8951D5F60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27122" y="5439600"/>
            <a:ext cx="89769" cy="107722"/>
          </a:xfrm>
        </p:spPr>
        <p:txBody>
          <a:bodyPr/>
          <a:lstStyle/>
          <a:p>
            <a:fld id="{97936681-4B71-4660-B1A1-61F7414CB65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6735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>
          <a:xfrm>
            <a:off x="4430955" y="5438964"/>
            <a:ext cx="282129" cy="107722"/>
          </a:xfrm>
        </p:spPr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299125"/>
            <a:ext cx="8211599" cy="392522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209117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434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481966" y="374309"/>
            <a:ext cx="8212454" cy="306387"/>
          </a:xfrm>
        </p:spPr>
        <p:txBody>
          <a:bodyPr anchor="ctr">
            <a:normAutofit/>
          </a:bodyPr>
          <a:lstStyle>
            <a:lvl1pPr marL="0" indent="0">
              <a:buNone/>
              <a:defRPr sz="1400" b="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nb-NO" b="1" dirty="0"/>
              <a:t>Placeholder for </a:t>
            </a:r>
            <a:r>
              <a:rPr lang="nb-NO" b="1" dirty="0" err="1"/>
              <a:t>tex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14261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75"/>
            <a:ext cx="3925088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1224" y="1333675"/>
            <a:ext cx="3922776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85775" y="4924431"/>
            <a:ext cx="8210550" cy="314325"/>
          </a:xfrm>
        </p:spPr>
        <p:txBody>
          <a:bodyPr anchor="b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400" y="650130"/>
            <a:ext cx="821160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lassholder for innhold 2"/>
          <p:cNvSpPr>
            <a:spLocks noGrp="1"/>
          </p:cNvSpPr>
          <p:nvPr>
            <p:ph idx="29"/>
          </p:nvPr>
        </p:nvSpPr>
        <p:spPr>
          <a:xfrm>
            <a:off x="4769500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0509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ree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" y="0"/>
            <a:ext cx="9143999" cy="5715000"/>
          </a:xfrm>
          <a:prstGeom prst="rect">
            <a:avLst/>
          </a:prstGeom>
        </p:spPr>
      </p:pic>
      <p:sp>
        <p:nvSpPr>
          <p:cNvPr id="13" name="Plassholder for tekst 7"/>
          <p:cNvSpPr>
            <a:spLocks noGrp="1" noChangeAspect="1"/>
          </p:cNvSpPr>
          <p:nvPr>
            <p:ph type="body" sz="quarter" idx="16"/>
          </p:nvPr>
        </p:nvSpPr>
        <p:spPr>
          <a:xfrm>
            <a:off x="450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8" name="Plassholder for tekst 7"/>
          <p:cNvSpPr>
            <a:spLocks noGrp="1" noChangeAspect="1"/>
          </p:cNvSpPr>
          <p:nvPr>
            <p:ph type="body" sz="quarter" idx="17"/>
          </p:nvPr>
        </p:nvSpPr>
        <p:spPr>
          <a:xfrm>
            <a:off x="6498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9" name="Plassholder for tekst 7"/>
          <p:cNvSpPr>
            <a:spLocks noGrp="1" noChangeAspect="1"/>
          </p:cNvSpPr>
          <p:nvPr>
            <p:ph type="body" sz="quarter" idx="18"/>
          </p:nvPr>
        </p:nvSpPr>
        <p:spPr>
          <a:xfrm>
            <a:off x="3474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9"/>
          </p:nvPr>
        </p:nvSpPr>
        <p:spPr>
          <a:xfrm>
            <a:off x="450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7" name="Plassholder for tekst 15"/>
          <p:cNvSpPr>
            <a:spLocks noGrp="1"/>
          </p:cNvSpPr>
          <p:nvPr>
            <p:ph type="body" sz="quarter" idx="20"/>
          </p:nvPr>
        </p:nvSpPr>
        <p:spPr>
          <a:xfrm>
            <a:off x="3473999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/>
          </p:nvPr>
        </p:nvSpPr>
        <p:spPr>
          <a:xfrm>
            <a:off x="6498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dato 5"/>
          <p:cNvSpPr>
            <a:spLocks noGrp="1"/>
          </p:cNvSpPr>
          <p:nvPr>
            <p:ph type="dt" sz="half" idx="22"/>
          </p:nvPr>
        </p:nvSpPr>
        <p:spPr>
          <a:xfrm>
            <a:off x="8693942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1316744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58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3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09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08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80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71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62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407781109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75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38391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401003"/>
            <a:ext cx="8211599" cy="352601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44151127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9633641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13" y="1943417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13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6"/>
            <a:ext cx="4014000" cy="36778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2167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 rot="16200000">
            <a:off x="-126000" y="1160024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3470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0868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 rot="16200000">
            <a:off x="-126000" y="34157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 rot="16200000">
            <a:off x="-126000" y="235350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8847621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18" y="781568"/>
            <a:ext cx="3988801" cy="32316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83"/>
            <a:ext cx="3988800" cy="330213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67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3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6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16200000">
            <a:off x="-126000" y="1534878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 rot="16200000">
            <a:off x="-126000" y="1014733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 rot="16200000">
            <a:off x="-126000" y="260981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 rot="16200000">
            <a:off x="-126000" y="31810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2" y="1085812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2" y="3271011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56689052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32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32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1143000" y="798148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 rot="16200000">
            <a:off x="-126000" y="140935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4966978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6000" y="3503623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6000" y="2959887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71077501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19877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4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614437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>
                <a:solidFill>
                  <a:srgbClr val="F41C50"/>
                </a:solidFill>
              </a:rPr>
              <a:t>Private &amp; </a:t>
            </a:r>
            <a:r>
              <a:rPr lang="nb-NO" dirty="0" err="1">
                <a:solidFill>
                  <a:srgbClr val="F41C50"/>
                </a:solidFill>
              </a:rPr>
              <a:t>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328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274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1812733" y="959943"/>
            <a:ext cx="5518547" cy="193476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defTabSz="273400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1812733" y="2946798"/>
            <a:ext cx="5518547" cy="662286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400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0" indent="106982" algn="ctr" defTabSz="273400">
              <a:buSzTx/>
              <a:buNone/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0" indent="213965" algn="ctr" defTabSz="273400">
              <a:buSzTx/>
              <a:buNone/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0" indent="320946" algn="ctr" defTabSz="273400">
              <a:buSzTx/>
              <a:buNone/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0" indent="427928" algn="ctr" defTabSz="273400">
              <a:buSzTx/>
              <a:buNone/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700"/>
              <a:t>Body Level One</a:t>
            </a:r>
          </a:p>
          <a:p>
            <a:pPr lvl="1">
              <a:defRPr sz="1800"/>
            </a:pPr>
            <a:r>
              <a:rPr sz="1700"/>
              <a:t>Body Level Two</a:t>
            </a:r>
          </a:p>
          <a:p>
            <a:pPr lvl="2">
              <a:defRPr sz="1800"/>
            </a:pPr>
            <a:r>
              <a:rPr sz="1700"/>
              <a:t>Body Level Three</a:t>
            </a:r>
          </a:p>
          <a:p>
            <a:pPr lvl="3">
              <a:defRPr sz="1800"/>
            </a:pPr>
            <a:r>
              <a:rPr sz="1700"/>
              <a:t>Body Level Four</a:t>
            </a:r>
          </a:p>
          <a:p>
            <a:pPr lvl="4">
              <a:defRPr sz="1800"/>
            </a:pPr>
            <a:r>
              <a:rPr sz="17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506718221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38157" y="5439600"/>
            <a:ext cx="355867" cy="107722"/>
          </a:xfrm>
        </p:spPr>
        <p:txBody>
          <a:bodyPr/>
          <a:lstStyle/>
          <a:p>
            <a:fld id="{B848DBCE-F743-4F1A-A505-5DF8951D5F60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27122" y="5439600"/>
            <a:ext cx="89769" cy="107722"/>
          </a:xfrm>
        </p:spPr>
        <p:txBody>
          <a:bodyPr/>
          <a:lstStyle/>
          <a:p>
            <a:fld id="{97936681-4B71-4660-B1A1-61F7414CB656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8990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36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>
          <a:xfrm>
            <a:off x="4430955" y="5438964"/>
            <a:ext cx="282129" cy="107722"/>
          </a:xfrm>
        </p:spPr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299125"/>
            <a:ext cx="8211599" cy="392522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209117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434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481966" y="374309"/>
            <a:ext cx="8212454" cy="306387"/>
          </a:xfrm>
        </p:spPr>
        <p:txBody>
          <a:bodyPr anchor="ctr">
            <a:normAutofit/>
          </a:bodyPr>
          <a:lstStyle>
            <a:lvl1pPr marL="0" indent="0">
              <a:buNone/>
              <a:defRPr sz="1400" b="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nb-NO" b="1" dirty="0"/>
              <a:t>Placeholder for </a:t>
            </a:r>
            <a:r>
              <a:rPr lang="nb-NO" b="1" dirty="0" err="1"/>
              <a:t>tex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7246660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75"/>
            <a:ext cx="3925088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1224" y="1333675"/>
            <a:ext cx="3922776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85775" y="4924431"/>
            <a:ext cx="8210550" cy="314325"/>
          </a:xfrm>
        </p:spPr>
        <p:txBody>
          <a:bodyPr anchor="b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400" y="650130"/>
            <a:ext cx="821160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lassholder for innhold 2"/>
          <p:cNvSpPr>
            <a:spLocks noGrp="1"/>
          </p:cNvSpPr>
          <p:nvPr>
            <p:ph idx="29"/>
          </p:nvPr>
        </p:nvSpPr>
        <p:spPr>
          <a:xfrm>
            <a:off x="4769500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94741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75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69030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58999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50129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07009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0767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70054586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2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2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9211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401003"/>
            <a:ext cx="8211599" cy="352601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8494415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08262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6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7616351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88460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2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71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600"/>
            <a:ext cx="2895600" cy="107950"/>
          </a:xfrm>
        </p:spPr>
        <p:txBody>
          <a:bodyPr/>
          <a:lstStyle>
            <a:lvl1pPr>
              <a:defRPr>
                <a:solidFill>
                  <a:srgbClr val="F41C50"/>
                </a:solidFill>
              </a:defRPr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971127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66851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2753723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bg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0804453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31862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11000852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062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400402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09454969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8705628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7879"/>
            <a:ext cx="8229600" cy="39872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124327" y="5325849"/>
            <a:ext cx="466473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fld id="{E6472A54-E5C4-4117-AA7A-BA9EEF9678DD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5325849"/>
            <a:ext cx="2895600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5325849"/>
            <a:ext cx="128240" cy="153888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latin typeface="Metric Regular" pitchFamily="34" charset="0"/>
              </a:defRPr>
            </a:lvl1pPr>
          </a:lstStyle>
          <a:p>
            <a:fld id="{71F00C8B-5560-470D-85B4-242E76DCA73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5998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1"/>
            <a:ext cx="8229600" cy="4286267"/>
          </a:xfrm>
        </p:spPr>
        <p:txBody>
          <a:bodyPr/>
          <a:lstStyle>
            <a:lvl1pPr>
              <a:defRPr sz="1333" baseline="0">
                <a:solidFill>
                  <a:srgbClr val="4A4B4F"/>
                </a:solidFill>
              </a:defRPr>
            </a:lvl1pPr>
            <a:lvl2pPr>
              <a:defRPr sz="1167" baseline="0">
                <a:solidFill>
                  <a:srgbClr val="4A4B4F"/>
                </a:solidFill>
              </a:defRPr>
            </a:lvl2pPr>
            <a:lvl3pPr>
              <a:defRPr sz="1000" baseline="0">
                <a:solidFill>
                  <a:srgbClr val="4A4B4F"/>
                </a:solidFill>
              </a:defRPr>
            </a:lvl3pPr>
            <a:lvl4pPr>
              <a:defRPr sz="917" baseline="0">
                <a:solidFill>
                  <a:srgbClr val="4A4B4F"/>
                </a:solidFill>
              </a:defRPr>
            </a:lvl4pPr>
            <a:lvl5pPr>
              <a:defRPr sz="917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1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2833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1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89" y="191905"/>
            <a:ext cx="567896" cy="863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23210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334" baseline="0">
                <a:solidFill>
                  <a:srgbClr val="4A4B4F"/>
                </a:solidFill>
              </a:defRPr>
            </a:lvl1pPr>
            <a:lvl2pPr>
              <a:defRPr sz="1167" baseline="0">
                <a:solidFill>
                  <a:srgbClr val="4A4B4F"/>
                </a:solidFill>
              </a:defRPr>
            </a:lvl2pPr>
            <a:lvl3pPr>
              <a:defRPr sz="1000" baseline="0">
                <a:solidFill>
                  <a:srgbClr val="4A4B4F"/>
                </a:solidFill>
              </a:defRPr>
            </a:lvl3pPr>
            <a:lvl4pPr>
              <a:defRPr sz="916" baseline="0">
                <a:solidFill>
                  <a:srgbClr val="4A4B4F"/>
                </a:solidFill>
              </a:defRPr>
            </a:lvl4pPr>
            <a:lvl5pPr>
              <a:defRPr sz="916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75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1" y="5435593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05818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478475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1C4C5-509F-7D42-B0A0-82C6645551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007B9-8637-FE42-A75A-36AEB091D2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09286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0081719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6" name="Ellipse 15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75389013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38555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38555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5999" y="16922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35392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1238555" y="835917"/>
            <a:ext cx="6696837" cy="323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877933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864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13" y="1943420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13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6"/>
            <a:ext cx="4014000" cy="36778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2167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 rot="16200000">
            <a:off x="-126000" y="1160024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3470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0868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 rot="16200000">
            <a:off x="-126000" y="34157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 rot="16200000">
            <a:off x="-126000" y="235350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74153440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-215999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21802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0" y="1943400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0" y="2425700"/>
            <a:ext cx="3888705" cy="10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1215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>
            <a:off x="-215999" y="125002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442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277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-215999" y="3505700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-215999" y="244350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0806836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0" y="781568"/>
            <a:ext cx="3988801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78"/>
            <a:ext cx="3988800" cy="3302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5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1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>
            <a:off x="-216000" y="162487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>
            <a:endCxn id="40" idx="3"/>
          </p:cNvCxnSpPr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>
            <a:off x="-215999" y="110473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274181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-215999" y="32710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0" y="1085812"/>
            <a:ext cx="3772799" cy="1656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199" y="3271011"/>
            <a:ext cx="3772799" cy="16560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53703336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5999" y="499555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5999" y="349409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5999" y="2978937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1"/>
            <a:ext cx="3772800" cy="1490134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503623"/>
            <a:ext cx="3772800" cy="14901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503623"/>
            <a:ext cx="3772800" cy="14901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8" name="Rett pil 47"/>
          <p:cNvCxnSpPr/>
          <p:nvPr userDrawn="1"/>
        </p:nvCxnSpPr>
        <p:spPr>
          <a:xfrm>
            <a:off x="-215999" y="1483976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07260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20000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1" name="Ellipse 10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41226651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Ellipse 4"/>
          <p:cNvSpPr>
            <a:spLocks noChangeAspect="1"/>
          </p:cNvSpPr>
          <p:nvPr userDrawn="1"/>
        </p:nvSpPr>
        <p:spPr>
          <a:xfrm>
            <a:off x="9900000" y="1000224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6" name="Ellipse 5"/>
          <p:cNvSpPr>
            <a:spLocks noChangeAspect="1"/>
          </p:cNvSpPr>
          <p:nvPr userDrawn="1"/>
        </p:nvSpPr>
        <p:spPr>
          <a:xfrm>
            <a:off x="9900000" y="68486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7" name="Ellipse 6"/>
          <p:cNvSpPr>
            <a:spLocks noChangeAspect="1"/>
          </p:cNvSpPr>
          <p:nvPr userDrawn="1"/>
        </p:nvSpPr>
        <p:spPr>
          <a:xfrm>
            <a:off x="9900000" y="1931962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8" name="Ellipse 7"/>
          <p:cNvSpPr>
            <a:spLocks noChangeAspect="1"/>
          </p:cNvSpPr>
          <p:nvPr userDrawn="1"/>
        </p:nvSpPr>
        <p:spPr>
          <a:xfrm>
            <a:off x="9900000" y="2863700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3795437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4727175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1163289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0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29072506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2655936" cy="33787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6038063" y="1684231"/>
            <a:ext cx="2655936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6038063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2" y="1398332"/>
            <a:ext cx="2651029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35" name="Plassholder for innhold 2"/>
          <p:cNvSpPr>
            <a:spLocks noGrp="1"/>
          </p:cNvSpPr>
          <p:nvPr>
            <p:ph idx="29"/>
          </p:nvPr>
        </p:nvSpPr>
        <p:spPr>
          <a:xfrm>
            <a:off x="3258287" y="1684231"/>
            <a:ext cx="2655936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6" name="Plassholder for tekst 16"/>
          <p:cNvSpPr>
            <a:spLocks noGrp="1"/>
          </p:cNvSpPr>
          <p:nvPr>
            <p:ph type="body" sz="quarter" idx="30"/>
          </p:nvPr>
        </p:nvSpPr>
        <p:spPr>
          <a:xfrm>
            <a:off x="3258287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585446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7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65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7" y="1525494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105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100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96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92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88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409432666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1C4C5-509F-7D42-B0A0-82C6645551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007B9-8637-FE42-A75A-36AEB091D2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9488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18" y="781568"/>
            <a:ext cx="3988801" cy="32316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83"/>
            <a:ext cx="3988800" cy="330213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67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3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6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16200000">
            <a:off x="-126000" y="1534878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 rot="16200000">
            <a:off x="-126000" y="1014733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 rot="16200000">
            <a:off x="-126000" y="260981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 rot="16200000">
            <a:off x="-126000" y="31810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2" y="1085812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2" y="3271011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94799416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253279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20000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5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3" y="5745209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15701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24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4130056" y="99616"/>
            <a:ext cx="878431" cy="313204"/>
            <a:chOff x="3406998" y="99616"/>
            <a:chExt cx="878431" cy="313204"/>
          </a:xfrm>
        </p:grpSpPr>
        <p:sp>
          <p:nvSpPr>
            <p:cNvPr id="10" name="Rectangle 9"/>
            <p:cNvSpPr/>
            <p:nvPr userDrawn="1"/>
          </p:nvSpPr>
          <p:spPr>
            <a:xfrm>
              <a:off x="3457339" y="219154"/>
              <a:ext cx="264496" cy="10768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grpSp>
          <p:nvGrpSpPr>
            <p:cNvPr id="12" name="Group 11"/>
            <p:cNvGrpSpPr/>
            <p:nvPr userDrawn="1"/>
          </p:nvGrpSpPr>
          <p:grpSpPr>
            <a:xfrm>
              <a:off x="3406998" y="99616"/>
              <a:ext cx="878431" cy="313204"/>
              <a:chOff x="3141569" y="99616"/>
              <a:chExt cx="878431" cy="313204"/>
            </a:xfrm>
          </p:grpSpPr>
          <p:pic>
            <p:nvPicPr>
              <p:cNvPr id="13" name="Bilde 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00000" y="147690"/>
                <a:ext cx="420000" cy="252000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 userDrawn="1"/>
            </p:nvPicPr>
            <p:blipFill>
              <a:blip r:embed="rId4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41569" y="99616"/>
                <a:ext cx="365550" cy="31320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6496104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5">
            <a:hlinkClick r:id="" action="ppaction://noaction"/>
          </p:cNvPr>
          <p:cNvSpPr/>
          <p:nvPr userDrawn="1"/>
        </p:nvSpPr>
        <p:spPr>
          <a:xfrm>
            <a:off x="8089902" y="4679950"/>
            <a:ext cx="862013" cy="93345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481432">
              <a:defRPr/>
            </a:pPr>
            <a:endParaRPr lang="nb-NO" sz="948">
              <a:solidFill>
                <a:prstClr val="white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857" y="1092825"/>
            <a:ext cx="8504197" cy="3585538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Font typeface="Arial"/>
              <a:buNone/>
              <a:defRPr u="none" baseline="0"/>
            </a:lvl1pPr>
            <a:lvl2pPr marL="181095" indent="-181095">
              <a:spcBef>
                <a:spcPts val="0"/>
              </a:spcBef>
              <a:defRPr sz="1215"/>
            </a:lvl2pPr>
            <a:lvl3pPr marL="361118" indent="-181095">
              <a:spcBef>
                <a:spcPts val="0"/>
              </a:spcBef>
              <a:buFont typeface="Lucida Grande"/>
              <a:buChar char="-"/>
              <a:tabLst>
                <a:tab pos="361118" algn="l"/>
              </a:tabLst>
              <a:defRPr baseline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v-SE" dirty="0"/>
          </a:p>
        </p:txBody>
      </p:sp>
      <p:sp>
        <p:nvSpPr>
          <p:cNvPr id="7" name="Platshållare för rubrik 1"/>
          <p:cNvSpPr>
            <a:spLocks noGrp="1"/>
          </p:cNvSpPr>
          <p:nvPr>
            <p:ph type="title"/>
          </p:nvPr>
        </p:nvSpPr>
        <p:spPr bwMode="auto">
          <a:xfrm>
            <a:off x="323857" y="256712"/>
            <a:ext cx="8504197" cy="82743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="1" kern="2300" spc="-3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0"/>
          </p:nvPr>
        </p:nvSpPr>
        <p:spPr>
          <a:xfrm>
            <a:off x="4527121" y="5438964"/>
            <a:ext cx="89769" cy="107722"/>
          </a:xfrm>
        </p:spPr>
        <p:txBody>
          <a:bodyPr/>
          <a:lstStyle>
            <a:lvl1pPr>
              <a:defRPr/>
            </a:lvl1pPr>
          </a:lstStyle>
          <a:p>
            <a:fld id="{22F328CE-086F-6941-A794-8034BF018A8D}" type="slidenum">
              <a:rPr lang="sv-SE">
                <a:solidFill>
                  <a:prstClr val="black"/>
                </a:solidFill>
              </a:rPr>
              <a:pPr/>
              <a:t>‹#›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672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75"/>
            <a:ext cx="3925088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1224" y="1333675"/>
            <a:ext cx="3922776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85775" y="4924431"/>
            <a:ext cx="8210550" cy="314325"/>
          </a:xfrm>
        </p:spPr>
        <p:txBody>
          <a:bodyPr anchor="b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400" y="650130"/>
            <a:ext cx="821160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lassholder for innhold 2"/>
          <p:cNvSpPr>
            <a:spLocks noGrp="1"/>
          </p:cNvSpPr>
          <p:nvPr>
            <p:ph idx="29"/>
          </p:nvPr>
        </p:nvSpPr>
        <p:spPr>
          <a:xfrm>
            <a:off x="4769500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8373638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7879"/>
            <a:ext cx="8229600" cy="39872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084251" y="5325849"/>
            <a:ext cx="506549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fld id="{E6472A54-E5C4-4117-AA7A-BA9EEF9678DD}" type="datetimeFigureOut">
              <a:rPr lang="nb-NO" smtClean="0"/>
              <a:t>11.10.2018</a:t>
            </a:fld>
            <a:endParaRPr lang="nb-NO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5325849"/>
            <a:ext cx="2895600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endParaRPr lang="nb-NO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5325849"/>
            <a:ext cx="128240" cy="153888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latin typeface="Metric Regular" pitchFamily="34" charset="0"/>
              </a:defRPr>
            </a:lvl1pPr>
          </a:lstStyle>
          <a:p>
            <a:fld id="{71F00C8B-5560-470D-85B4-242E76DCA73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383739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2" name="Shape 222"/>
          <p:cNvSpPr txBox="1">
            <a:spLocks noGrp="1"/>
          </p:cNvSpPr>
          <p:nvPr>
            <p:ph type="title"/>
          </p:nvPr>
        </p:nvSpPr>
        <p:spPr>
          <a:xfrm>
            <a:off x="311700" y="617333"/>
            <a:ext cx="2808000" cy="839625"/>
          </a:xfrm>
          <a:prstGeom prst="rect">
            <a:avLst/>
          </a:prstGeom>
        </p:spPr>
        <p:txBody>
          <a:bodyPr lIns="243800" tIns="243800" rIns="243800" bIns="243800" anchor="b" anchorCtr="0"/>
          <a:lstStyle>
            <a:lvl1pPr lvl="0" rtl="0">
              <a:spcBef>
                <a:spcPts val="0"/>
              </a:spcBef>
              <a:buSzPct val="100000"/>
              <a:defRPr sz="2400"/>
            </a:lvl1pPr>
            <a:lvl2pPr lvl="1" rtl="0">
              <a:spcBef>
                <a:spcPts val="0"/>
              </a:spcBef>
              <a:buSzPct val="100000"/>
              <a:defRPr sz="2400"/>
            </a:lvl2pPr>
            <a:lvl3pPr lvl="2" rtl="0">
              <a:spcBef>
                <a:spcPts val="0"/>
              </a:spcBef>
              <a:buSzPct val="100000"/>
              <a:defRPr sz="2400"/>
            </a:lvl3pPr>
            <a:lvl4pPr lvl="3" rtl="0">
              <a:spcBef>
                <a:spcPts val="0"/>
              </a:spcBef>
              <a:buSzPct val="100000"/>
              <a:defRPr sz="2400"/>
            </a:lvl4pPr>
            <a:lvl5pPr lvl="4" rtl="0">
              <a:spcBef>
                <a:spcPts val="0"/>
              </a:spcBef>
              <a:buSzPct val="100000"/>
              <a:defRPr sz="2400"/>
            </a:lvl5pPr>
            <a:lvl6pPr lvl="5" rtl="0">
              <a:spcBef>
                <a:spcPts val="0"/>
              </a:spcBef>
              <a:buSzPct val="100000"/>
              <a:defRPr sz="2400"/>
            </a:lvl6pPr>
            <a:lvl7pPr lvl="6" rtl="0">
              <a:spcBef>
                <a:spcPts val="0"/>
              </a:spcBef>
              <a:buSzPct val="100000"/>
              <a:defRPr sz="2400"/>
            </a:lvl7pPr>
            <a:lvl8pPr lvl="7" rtl="0">
              <a:spcBef>
                <a:spcPts val="0"/>
              </a:spcBef>
              <a:buSzPct val="100000"/>
              <a:defRPr sz="2400"/>
            </a:lvl8pPr>
            <a:lvl9pPr lvl="8" rtl="0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223" name="Shape 223"/>
          <p:cNvSpPr txBox="1">
            <a:spLocks noGrp="1"/>
          </p:cNvSpPr>
          <p:nvPr>
            <p:ph type="body" idx="1"/>
          </p:nvPr>
        </p:nvSpPr>
        <p:spPr>
          <a:xfrm>
            <a:off x="311700" y="1544000"/>
            <a:ext cx="2808000" cy="3532625"/>
          </a:xfrm>
          <a:prstGeom prst="rect">
            <a:avLst/>
          </a:prstGeom>
        </p:spPr>
        <p:txBody>
          <a:bodyPr lIns="243800" tIns="243800" rIns="243800" bIns="243800" anchor="t" anchorCtr="0"/>
          <a:lstStyle>
            <a:lvl1pPr lvl="0" rtl="0">
              <a:spcBef>
                <a:spcPts val="0"/>
              </a:spcBef>
              <a:buSzPct val="100000"/>
              <a:defRPr sz="1200"/>
            </a:lvl1pPr>
            <a:lvl2pPr lvl="1" rtl="0">
              <a:spcBef>
                <a:spcPts val="0"/>
              </a:spcBef>
              <a:buSzPct val="100000"/>
              <a:defRPr sz="1200"/>
            </a:lvl2pPr>
            <a:lvl3pPr lvl="2" rtl="0">
              <a:spcBef>
                <a:spcPts val="0"/>
              </a:spcBef>
              <a:buSzPct val="100000"/>
              <a:defRPr sz="1200"/>
            </a:lvl3pPr>
            <a:lvl4pPr lvl="3" rtl="0">
              <a:spcBef>
                <a:spcPts val="0"/>
              </a:spcBef>
              <a:buSzPct val="100000"/>
              <a:defRPr sz="1200"/>
            </a:lvl4pPr>
            <a:lvl5pPr lvl="4" rtl="0">
              <a:spcBef>
                <a:spcPts val="0"/>
              </a:spcBef>
              <a:buSzPct val="100000"/>
              <a:defRPr sz="1200"/>
            </a:lvl5pPr>
            <a:lvl6pPr lvl="5" rtl="0">
              <a:spcBef>
                <a:spcPts val="0"/>
              </a:spcBef>
              <a:buSzPct val="100000"/>
              <a:defRPr sz="1200"/>
            </a:lvl6pPr>
            <a:lvl7pPr lvl="6" rtl="0">
              <a:spcBef>
                <a:spcPts val="0"/>
              </a:spcBef>
              <a:buSzPct val="100000"/>
              <a:defRPr sz="1200"/>
            </a:lvl7pPr>
            <a:lvl8pPr lvl="7" rtl="0">
              <a:spcBef>
                <a:spcPts val="0"/>
              </a:spcBef>
              <a:buSzPct val="100000"/>
              <a:defRPr sz="1200"/>
            </a:lvl8pPr>
            <a:lvl9pPr lvl="8" rtl="0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24" name="Shape 224"/>
          <p:cNvSpPr txBox="1">
            <a:spLocks noGrp="1"/>
          </p:cNvSpPr>
          <p:nvPr>
            <p:ph type="sldNum" idx="12"/>
          </p:nvPr>
        </p:nvSpPr>
        <p:spPr>
          <a:xfrm>
            <a:off x="8472457" y="5181352"/>
            <a:ext cx="548663" cy="437375"/>
          </a:xfrm>
          <a:prstGeom prst="rect">
            <a:avLst/>
          </a:prstGeom>
        </p:spPr>
        <p:txBody>
          <a:bodyPr lIns="243800" tIns="243800" rIns="243800" bIns="243800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9143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ree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0"/>
            <a:ext cx="9143999" cy="5715000"/>
          </a:xfrm>
          <a:prstGeom prst="rect">
            <a:avLst/>
          </a:prstGeom>
        </p:spPr>
      </p:pic>
      <p:sp>
        <p:nvSpPr>
          <p:cNvPr id="13" name="Plassholder for tekst 7"/>
          <p:cNvSpPr>
            <a:spLocks noGrp="1" noChangeAspect="1"/>
          </p:cNvSpPr>
          <p:nvPr>
            <p:ph type="body" sz="quarter" idx="16"/>
          </p:nvPr>
        </p:nvSpPr>
        <p:spPr>
          <a:xfrm>
            <a:off x="450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8" name="Plassholder for tekst 7"/>
          <p:cNvSpPr>
            <a:spLocks noGrp="1" noChangeAspect="1"/>
          </p:cNvSpPr>
          <p:nvPr>
            <p:ph type="body" sz="quarter" idx="17"/>
          </p:nvPr>
        </p:nvSpPr>
        <p:spPr>
          <a:xfrm>
            <a:off x="6498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9" name="Plassholder for tekst 7"/>
          <p:cNvSpPr>
            <a:spLocks noGrp="1" noChangeAspect="1"/>
          </p:cNvSpPr>
          <p:nvPr>
            <p:ph type="body" sz="quarter" idx="18"/>
          </p:nvPr>
        </p:nvSpPr>
        <p:spPr>
          <a:xfrm>
            <a:off x="3474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9"/>
          </p:nvPr>
        </p:nvSpPr>
        <p:spPr>
          <a:xfrm>
            <a:off x="450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7" name="Plassholder for tekst 15"/>
          <p:cNvSpPr>
            <a:spLocks noGrp="1"/>
          </p:cNvSpPr>
          <p:nvPr>
            <p:ph type="body" sz="quarter" idx="20"/>
          </p:nvPr>
        </p:nvSpPr>
        <p:spPr>
          <a:xfrm>
            <a:off x="3473999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/>
          </p:nvPr>
        </p:nvSpPr>
        <p:spPr>
          <a:xfrm>
            <a:off x="6498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dato 5"/>
          <p:cNvSpPr>
            <a:spLocks noGrp="1"/>
          </p:cNvSpPr>
          <p:nvPr>
            <p:ph type="dt" sz="half" idx="22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720629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4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67544" y="181346"/>
            <a:ext cx="8229600" cy="455907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>
              <a:defRPr sz="15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5" name="Cont1"/>
          <p:cNvSpPr>
            <a:spLocks noGrp="1"/>
          </p:cNvSpPr>
          <p:nvPr>
            <p:ph sz="quarter" idx="10"/>
          </p:nvPr>
        </p:nvSpPr>
        <p:spPr>
          <a:xfrm>
            <a:off x="468314" y="756709"/>
            <a:ext cx="8207375" cy="4500563"/>
          </a:xfrm>
          <a:noFill/>
          <a:ln>
            <a:noFill/>
          </a:ln>
        </p:spPr>
        <p:txBody>
          <a:bodyPr anchor="t">
            <a:normAutofit/>
          </a:bodyPr>
          <a:lstStyle>
            <a:lvl1pPr marL="0" indent="0">
              <a:buNone/>
              <a:defRPr sz="100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 algn="just">
              <a:defRPr/>
            </a:lvl2pPr>
            <a:lvl3pPr algn="just"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Warn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557199"/>
            <a:ext cx="8642350" cy="480218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33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defRPr>
            </a:lvl1pPr>
            <a:lvl2pPr marL="380985" indent="0">
              <a:buNone/>
              <a:defRPr sz="1500">
                <a:solidFill>
                  <a:srgbClr val="FF0000"/>
                </a:solidFill>
              </a:defRPr>
            </a:lvl2pPr>
            <a:lvl3pPr>
              <a:defRPr sz="1500">
                <a:solidFill>
                  <a:srgbClr val="FF0000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/>
              <a:t>Warning</a:t>
            </a:r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0805045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8546"/>
            <a:ext cx="9143999" cy="5715000"/>
          </a:xfrm>
          <a:prstGeom prst="rect">
            <a:avLst/>
          </a:prstGeom>
        </p:spPr>
      </p:pic>
      <p:sp>
        <p:nvSpPr>
          <p:cNvPr id="13" name="Plassholder for bilde 12"/>
          <p:cNvSpPr>
            <a:spLocks noGrp="1"/>
          </p:cNvSpPr>
          <p:nvPr>
            <p:ph type="pic" sz="quarter" idx="16"/>
          </p:nvPr>
        </p:nvSpPr>
        <p:spPr>
          <a:xfrm>
            <a:off x="3177000" y="1070220"/>
            <a:ext cx="2790000" cy="1728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tekst 5"/>
          <p:cNvSpPr>
            <a:spLocks noGrp="1"/>
          </p:cNvSpPr>
          <p:nvPr>
            <p:ph type="body" sz="quarter" idx="20" hasCustomPrompt="1"/>
          </p:nvPr>
        </p:nvSpPr>
        <p:spPr>
          <a:xfrm>
            <a:off x="507600" y="2686200"/>
            <a:ext cx="8128800" cy="266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11" name="Tittel 1"/>
          <p:cNvSpPr>
            <a:spLocks noGrp="1"/>
          </p:cNvSpPr>
          <p:nvPr>
            <p:ph type="ctrTitle"/>
          </p:nvPr>
        </p:nvSpPr>
        <p:spPr>
          <a:xfrm>
            <a:off x="1143000" y="2952600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7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3408601"/>
            <a:ext cx="6858000" cy="184666"/>
          </a:xfrm>
        </p:spPr>
        <p:txBody>
          <a:bodyPr>
            <a:spAutoFit/>
          </a:bodyPr>
          <a:lstStyle>
            <a:lvl1pPr marL="0" indent="0" algn="ctr">
              <a:spcAft>
                <a:spcPts val="1200"/>
              </a:spcAft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b-NO" dirty="0" err="1"/>
              <a:t>Text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1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12081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3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3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5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1143000" y="798148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 rot="16200000">
            <a:off x="-126000" y="140935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4966978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6000" y="3503623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6000" y="2959887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476844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65418596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le pictures with caption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8546"/>
            <a:ext cx="9143999" cy="5715000"/>
          </a:xfrm>
          <a:prstGeom prst="rect">
            <a:avLst/>
          </a:prstGeom>
        </p:spPr>
      </p:pic>
      <p:sp>
        <p:nvSpPr>
          <p:cNvPr id="16" name="Plassholder for tekst 15"/>
          <p:cNvSpPr>
            <a:spLocks noGrp="1"/>
          </p:cNvSpPr>
          <p:nvPr>
            <p:ph type="body" sz="quarter" idx="17"/>
          </p:nvPr>
        </p:nvSpPr>
        <p:spPr>
          <a:xfrm>
            <a:off x="1146509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bilde 19"/>
          <p:cNvSpPr>
            <a:spLocks noGrp="1"/>
          </p:cNvSpPr>
          <p:nvPr>
            <p:ph type="pic" sz="quarter" idx="18"/>
          </p:nvPr>
        </p:nvSpPr>
        <p:spPr>
          <a:xfrm>
            <a:off x="11430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1" name="Plassholder for bilde 19"/>
          <p:cNvSpPr>
            <a:spLocks noGrp="1"/>
          </p:cNvSpPr>
          <p:nvPr>
            <p:ph type="pic" sz="quarter" idx="19"/>
          </p:nvPr>
        </p:nvSpPr>
        <p:spPr>
          <a:xfrm>
            <a:off x="29529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2" name="Plassholder for bilde 19"/>
          <p:cNvSpPr>
            <a:spLocks noGrp="1"/>
          </p:cNvSpPr>
          <p:nvPr>
            <p:ph type="pic" sz="quarter" idx="20"/>
          </p:nvPr>
        </p:nvSpPr>
        <p:spPr>
          <a:xfrm>
            <a:off x="47628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3" name="Plassholder for bilde 19"/>
          <p:cNvSpPr>
            <a:spLocks noGrp="1"/>
          </p:cNvSpPr>
          <p:nvPr>
            <p:ph type="pic" sz="quarter" idx="21"/>
          </p:nvPr>
        </p:nvSpPr>
        <p:spPr>
          <a:xfrm>
            <a:off x="65727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6" name="Plassholder for tekst 15"/>
          <p:cNvSpPr>
            <a:spLocks noGrp="1"/>
          </p:cNvSpPr>
          <p:nvPr>
            <p:ph type="body" sz="quarter" idx="22"/>
          </p:nvPr>
        </p:nvSpPr>
        <p:spPr>
          <a:xfrm>
            <a:off x="2952901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7" name="Plassholder for tekst 15"/>
          <p:cNvSpPr>
            <a:spLocks noGrp="1"/>
          </p:cNvSpPr>
          <p:nvPr>
            <p:ph type="body" sz="quarter" idx="23"/>
          </p:nvPr>
        </p:nvSpPr>
        <p:spPr>
          <a:xfrm>
            <a:off x="4762822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8" name="Plassholder for tekst 15"/>
          <p:cNvSpPr>
            <a:spLocks noGrp="1"/>
          </p:cNvSpPr>
          <p:nvPr>
            <p:ph type="body" sz="quarter" idx="24"/>
          </p:nvPr>
        </p:nvSpPr>
        <p:spPr>
          <a:xfrm>
            <a:off x="6572710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9" name="Plassholder for bilde 12"/>
          <p:cNvSpPr>
            <a:spLocks noGrp="1"/>
          </p:cNvSpPr>
          <p:nvPr>
            <p:ph type="pic" sz="quarter" idx="16"/>
          </p:nvPr>
        </p:nvSpPr>
        <p:spPr>
          <a:xfrm>
            <a:off x="3177000" y="1070220"/>
            <a:ext cx="2790000" cy="1728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30" name="Plassholder for tekst 5"/>
          <p:cNvSpPr>
            <a:spLocks noGrp="1"/>
          </p:cNvSpPr>
          <p:nvPr>
            <p:ph type="body" sz="quarter" idx="28" hasCustomPrompt="1"/>
          </p:nvPr>
        </p:nvSpPr>
        <p:spPr>
          <a:xfrm>
            <a:off x="507600" y="2686200"/>
            <a:ext cx="8128800" cy="266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32" name="Tittel 1"/>
          <p:cNvSpPr>
            <a:spLocks noGrp="1"/>
          </p:cNvSpPr>
          <p:nvPr>
            <p:ph type="ctrTitle"/>
          </p:nvPr>
        </p:nvSpPr>
        <p:spPr>
          <a:xfrm>
            <a:off x="1143000" y="2952600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3408601"/>
            <a:ext cx="6858000" cy="184666"/>
          </a:xfrm>
        </p:spPr>
        <p:txBody>
          <a:bodyPr>
            <a:spAutoFit/>
          </a:bodyPr>
          <a:lstStyle>
            <a:lvl1pPr marL="0" indent="0" algn="ctr">
              <a:spcAft>
                <a:spcPts val="1200"/>
              </a:spcAft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b-NO" dirty="0" err="1"/>
              <a:t>Text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9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897530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0"/>
            <a:ext cx="9143999" cy="5715000"/>
          </a:xfrm>
          <a:prstGeom prst="rect">
            <a:avLst/>
          </a:prstGeom>
        </p:spPr>
      </p:pic>
      <p:sp>
        <p:nvSpPr>
          <p:cNvPr id="13" name="Plassholder for tekst 7"/>
          <p:cNvSpPr>
            <a:spLocks noGrp="1" noChangeAspect="1"/>
          </p:cNvSpPr>
          <p:nvPr>
            <p:ph type="body" sz="quarter" idx="16"/>
          </p:nvPr>
        </p:nvSpPr>
        <p:spPr>
          <a:xfrm>
            <a:off x="450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8" name="Plassholder for tekst 7"/>
          <p:cNvSpPr>
            <a:spLocks noGrp="1" noChangeAspect="1"/>
          </p:cNvSpPr>
          <p:nvPr>
            <p:ph type="body" sz="quarter" idx="17"/>
          </p:nvPr>
        </p:nvSpPr>
        <p:spPr>
          <a:xfrm>
            <a:off x="6498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9" name="Plassholder for tekst 7"/>
          <p:cNvSpPr>
            <a:spLocks noGrp="1" noChangeAspect="1"/>
          </p:cNvSpPr>
          <p:nvPr>
            <p:ph type="body" sz="quarter" idx="18"/>
          </p:nvPr>
        </p:nvSpPr>
        <p:spPr>
          <a:xfrm>
            <a:off x="3474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9"/>
          </p:nvPr>
        </p:nvSpPr>
        <p:spPr>
          <a:xfrm>
            <a:off x="450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7" name="Plassholder for tekst 15"/>
          <p:cNvSpPr>
            <a:spLocks noGrp="1"/>
          </p:cNvSpPr>
          <p:nvPr>
            <p:ph type="body" sz="quarter" idx="20"/>
          </p:nvPr>
        </p:nvSpPr>
        <p:spPr>
          <a:xfrm>
            <a:off x="3473999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/>
          </p:nvPr>
        </p:nvSpPr>
        <p:spPr>
          <a:xfrm>
            <a:off x="6498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dato 5"/>
          <p:cNvSpPr>
            <a:spLocks noGrp="1"/>
          </p:cNvSpPr>
          <p:nvPr>
            <p:ph type="dt" sz="half" idx="22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5729767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1846002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ground 2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581547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ground 3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870224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86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1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122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133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144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155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166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445851305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84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39952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52730826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4692007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2968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3926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19877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4363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bg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712694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11064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11677011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84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18000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3524502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7509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8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2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5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9891646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2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5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544367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8" y="937459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bg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2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5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425946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8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9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2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197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7715306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2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6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6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76395104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4" y="1333694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4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3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4" y="3208209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6" y="3208209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48463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2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329144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7881"/>
            <a:ext cx="8229600" cy="39872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061809" y="5325849"/>
            <a:ext cx="528992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fld id="{E6472A54-E5C4-4117-AA7A-BA9EEF9678DD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1" y="5325849"/>
            <a:ext cx="2895600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5325849"/>
            <a:ext cx="128240" cy="153888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latin typeface="Metric Regular" pitchFamily="34" charset="0"/>
              </a:defRPr>
            </a:lvl1pPr>
          </a:lstStyle>
          <a:p>
            <a:fld id="{71F00C8B-5560-470D-85B4-242E76DCA73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92661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4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92642" y="5438014"/>
            <a:ext cx="301365" cy="107722"/>
          </a:xfrm>
        </p:spPr>
        <p:txBody>
          <a:bodyPr/>
          <a:lstStyle/>
          <a:p>
            <a:fld id="{B2D1C4C5-509F-7D42-B0A0-82C6645551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27135" y="5438964"/>
            <a:ext cx="89769" cy="107722"/>
          </a:xfrm>
        </p:spPr>
        <p:txBody>
          <a:bodyPr/>
          <a:lstStyle/>
          <a:p>
            <a:fld id="{9B7007B9-8637-FE42-A75A-36AEB091D2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62699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9"/>
            <a:ext cx="8211600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2" y="1401002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573340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2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3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03876289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2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2" y="1400402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395852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2" name="Shape 222"/>
          <p:cNvSpPr txBox="1">
            <a:spLocks noGrp="1"/>
          </p:cNvSpPr>
          <p:nvPr>
            <p:ph type="title"/>
          </p:nvPr>
        </p:nvSpPr>
        <p:spPr>
          <a:xfrm>
            <a:off x="311700" y="617333"/>
            <a:ext cx="2808000" cy="839625"/>
          </a:xfrm>
          <a:prstGeom prst="rect">
            <a:avLst/>
          </a:prstGeom>
        </p:spPr>
        <p:txBody>
          <a:bodyPr lIns="243800" tIns="243800" rIns="243800" bIns="243800" anchor="b" anchorCtr="0"/>
          <a:lstStyle>
            <a:lvl1pPr lvl="0" rtl="0">
              <a:spcBef>
                <a:spcPts val="0"/>
              </a:spcBef>
              <a:buSzPct val="100000"/>
              <a:defRPr sz="2400"/>
            </a:lvl1pPr>
            <a:lvl2pPr lvl="1" rtl="0">
              <a:spcBef>
                <a:spcPts val="0"/>
              </a:spcBef>
              <a:buSzPct val="100000"/>
              <a:defRPr sz="2400"/>
            </a:lvl2pPr>
            <a:lvl3pPr lvl="2" rtl="0">
              <a:spcBef>
                <a:spcPts val="0"/>
              </a:spcBef>
              <a:buSzPct val="100000"/>
              <a:defRPr sz="2400"/>
            </a:lvl3pPr>
            <a:lvl4pPr lvl="3" rtl="0">
              <a:spcBef>
                <a:spcPts val="0"/>
              </a:spcBef>
              <a:buSzPct val="100000"/>
              <a:defRPr sz="2400"/>
            </a:lvl4pPr>
            <a:lvl5pPr lvl="4" rtl="0">
              <a:spcBef>
                <a:spcPts val="0"/>
              </a:spcBef>
              <a:buSzPct val="100000"/>
              <a:defRPr sz="2400"/>
            </a:lvl5pPr>
            <a:lvl6pPr lvl="5" rtl="0">
              <a:spcBef>
                <a:spcPts val="0"/>
              </a:spcBef>
              <a:buSzPct val="100000"/>
              <a:defRPr sz="2400"/>
            </a:lvl6pPr>
            <a:lvl7pPr lvl="6" rtl="0">
              <a:spcBef>
                <a:spcPts val="0"/>
              </a:spcBef>
              <a:buSzPct val="100000"/>
              <a:defRPr sz="2400"/>
            </a:lvl7pPr>
            <a:lvl8pPr lvl="7" rtl="0">
              <a:spcBef>
                <a:spcPts val="0"/>
              </a:spcBef>
              <a:buSzPct val="100000"/>
              <a:defRPr sz="2400"/>
            </a:lvl8pPr>
            <a:lvl9pPr lvl="8" rtl="0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223" name="Shape 223"/>
          <p:cNvSpPr txBox="1">
            <a:spLocks noGrp="1"/>
          </p:cNvSpPr>
          <p:nvPr>
            <p:ph type="body" idx="1"/>
          </p:nvPr>
        </p:nvSpPr>
        <p:spPr>
          <a:xfrm>
            <a:off x="311700" y="1544000"/>
            <a:ext cx="2808000" cy="3532625"/>
          </a:xfrm>
          <a:prstGeom prst="rect">
            <a:avLst/>
          </a:prstGeom>
        </p:spPr>
        <p:txBody>
          <a:bodyPr lIns="243800" tIns="243800" rIns="243800" bIns="243800" anchor="t" anchorCtr="0"/>
          <a:lstStyle>
            <a:lvl1pPr lvl="0" rtl="0">
              <a:spcBef>
                <a:spcPts val="0"/>
              </a:spcBef>
              <a:buSzPct val="100000"/>
              <a:defRPr sz="1200"/>
            </a:lvl1pPr>
            <a:lvl2pPr lvl="1" rtl="0">
              <a:spcBef>
                <a:spcPts val="0"/>
              </a:spcBef>
              <a:buSzPct val="100000"/>
              <a:defRPr sz="1200"/>
            </a:lvl2pPr>
            <a:lvl3pPr lvl="2" rtl="0">
              <a:spcBef>
                <a:spcPts val="0"/>
              </a:spcBef>
              <a:buSzPct val="100000"/>
              <a:defRPr sz="1200"/>
            </a:lvl3pPr>
            <a:lvl4pPr lvl="3" rtl="0">
              <a:spcBef>
                <a:spcPts val="0"/>
              </a:spcBef>
              <a:buSzPct val="100000"/>
              <a:defRPr sz="1200"/>
            </a:lvl4pPr>
            <a:lvl5pPr lvl="4" rtl="0">
              <a:spcBef>
                <a:spcPts val="0"/>
              </a:spcBef>
              <a:buSzPct val="100000"/>
              <a:defRPr sz="1200"/>
            </a:lvl5pPr>
            <a:lvl6pPr lvl="5" rtl="0">
              <a:spcBef>
                <a:spcPts val="0"/>
              </a:spcBef>
              <a:buSzPct val="100000"/>
              <a:defRPr sz="1200"/>
            </a:lvl6pPr>
            <a:lvl7pPr lvl="6" rtl="0">
              <a:spcBef>
                <a:spcPts val="0"/>
              </a:spcBef>
              <a:buSzPct val="100000"/>
              <a:defRPr sz="1200"/>
            </a:lvl7pPr>
            <a:lvl8pPr lvl="7" rtl="0">
              <a:spcBef>
                <a:spcPts val="0"/>
              </a:spcBef>
              <a:buSzPct val="100000"/>
              <a:defRPr sz="1200"/>
            </a:lvl8pPr>
            <a:lvl9pPr lvl="8" rtl="0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24" name="Shape 224"/>
          <p:cNvSpPr txBox="1">
            <a:spLocks noGrp="1"/>
          </p:cNvSpPr>
          <p:nvPr>
            <p:ph type="sldNum" idx="12"/>
          </p:nvPr>
        </p:nvSpPr>
        <p:spPr>
          <a:xfrm>
            <a:off x="8472457" y="5181352"/>
            <a:ext cx="548663" cy="437375"/>
          </a:xfrm>
          <a:prstGeom prst="rect">
            <a:avLst/>
          </a:prstGeom>
        </p:spPr>
        <p:txBody>
          <a:bodyPr lIns="243800" tIns="243800" rIns="243800" bIns="243800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01265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98139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84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54510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5">
            <a:hlinkClick r:id="" action="ppaction://noaction"/>
          </p:cNvPr>
          <p:cNvSpPr/>
          <p:nvPr userDrawn="1"/>
        </p:nvSpPr>
        <p:spPr>
          <a:xfrm>
            <a:off x="8089902" y="4679950"/>
            <a:ext cx="862013" cy="93345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defTabSz="481432">
              <a:defRPr/>
            </a:pPr>
            <a:endParaRPr lang="nb-NO" sz="948">
              <a:solidFill>
                <a:prstClr val="white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857" y="1092825"/>
            <a:ext cx="8504197" cy="3585538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buFont typeface="Arial"/>
              <a:buNone/>
              <a:defRPr u="none" baseline="0"/>
            </a:lvl1pPr>
            <a:lvl2pPr marL="181095" indent="-181095">
              <a:spcBef>
                <a:spcPts val="0"/>
              </a:spcBef>
              <a:defRPr sz="1215"/>
            </a:lvl2pPr>
            <a:lvl3pPr marL="361118" indent="-181095">
              <a:spcBef>
                <a:spcPts val="0"/>
              </a:spcBef>
              <a:buFont typeface="Lucida Grande"/>
              <a:buChar char="-"/>
              <a:tabLst>
                <a:tab pos="361118" algn="l"/>
              </a:tabLst>
              <a:defRPr baseline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sv-SE" dirty="0"/>
          </a:p>
        </p:txBody>
      </p:sp>
      <p:sp>
        <p:nvSpPr>
          <p:cNvPr id="7" name="Platshållare för rubrik 1"/>
          <p:cNvSpPr>
            <a:spLocks noGrp="1"/>
          </p:cNvSpPr>
          <p:nvPr>
            <p:ph type="title"/>
          </p:nvPr>
        </p:nvSpPr>
        <p:spPr bwMode="auto">
          <a:xfrm>
            <a:off x="323857" y="256712"/>
            <a:ext cx="8504197" cy="82743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b="1" kern="2300" spc="-3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0"/>
          </p:nvPr>
        </p:nvSpPr>
        <p:spPr>
          <a:xfrm>
            <a:off x="4527121" y="5438964"/>
            <a:ext cx="89769" cy="107722"/>
          </a:xfrm>
        </p:spPr>
        <p:txBody>
          <a:bodyPr/>
          <a:lstStyle>
            <a:lvl1pPr>
              <a:defRPr/>
            </a:lvl1pPr>
          </a:lstStyle>
          <a:p>
            <a:fld id="{22F328CE-086F-6941-A794-8034BF018A8D}" type="slidenum">
              <a:rPr lang="sv-SE">
                <a:solidFill>
                  <a:prstClr val="black"/>
                </a:solidFill>
              </a:rPr>
              <a:pPr/>
              <a:t>‹#›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22544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00625829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6" name="Ellipse 15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06552179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38555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38555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5999" y="16922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35392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1238555" y="835917"/>
            <a:ext cx="6696837" cy="323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3618851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713767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-215999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38065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0" y="1943400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0" y="2425700"/>
            <a:ext cx="3888705" cy="108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1215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>
            <a:off x="-215999" y="125002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442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277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-215999" y="3505700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-215999" y="244350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94153361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0" y="781568"/>
            <a:ext cx="3988801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78"/>
            <a:ext cx="3988800" cy="33021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5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1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>
            <a:off x="-216000" y="162487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>
            <a:endCxn id="40" idx="3"/>
          </p:cNvCxnSpPr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>
            <a:off x="-215999" y="110473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274181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-215999" y="32710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0" y="1085812"/>
            <a:ext cx="3772799" cy="16560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199" y="3271011"/>
            <a:ext cx="3772799" cy="16560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04546813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5999" y="499555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5999" y="349409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5999" y="2978937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1"/>
            <a:ext cx="3772800" cy="149013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503623"/>
            <a:ext cx="3772800" cy="1490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503623"/>
            <a:ext cx="3772800" cy="1490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8" name="Rett pil 47"/>
          <p:cNvCxnSpPr/>
          <p:nvPr userDrawn="1"/>
        </p:nvCxnSpPr>
        <p:spPr>
          <a:xfrm>
            <a:off x="-215999" y="1483976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6479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20000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1" name="Ellipse 10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9587560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65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3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105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100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96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92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88" indent="-231105" defTabSz="273365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499019251"/>
      </p:ext>
    </p:extLst>
  </p:cSld>
  <p:clrMapOvr>
    <a:masterClrMapping/>
  </p:clrMapOvr>
  <p:transition spd="med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Ellipse 4"/>
          <p:cNvSpPr>
            <a:spLocks noChangeAspect="1"/>
          </p:cNvSpPr>
          <p:nvPr userDrawn="1"/>
        </p:nvSpPr>
        <p:spPr>
          <a:xfrm>
            <a:off x="9900000" y="1000224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6" name="Ellipse 5"/>
          <p:cNvSpPr>
            <a:spLocks noChangeAspect="1"/>
          </p:cNvSpPr>
          <p:nvPr userDrawn="1"/>
        </p:nvSpPr>
        <p:spPr>
          <a:xfrm>
            <a:off x="9900000" y="68486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7" name="Ellipse 6"/>
          <p:cNvSpPr>
            <a:spLocks noChangeAspect="1"/>
          </p:cNvSpPr>
          <p:nvPr userDrawn="1"/>
        </p:nvSpPr>
        <p:spPr>
          <a:xfrm>
            <a:off x="9900000" y="1931962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8" name="Ellipse 7"/>
          <p:cNvSpPr>
            <a:spLocks noChangeAspect="1"/>
          </p:cNvSpPr>
          <p:nvPr userDrawn="1"/>
        </p:nvSpPr>
        <p:spPr>
          <a:xfrm>
            <a:off x="9900000" y="2863700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3795437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4727175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1078252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52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8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440" cap="all" baseline="0">
                <a:solidFill>
                  <a:schemeClr val="tx1"/>
                </a:solidFill>
                <a:latin typeface="+mn-lt"/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4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69593901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7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350"/>
              </a:spcAft>
              <a:buNone/>
              <a:defRPr sz="18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88" y="937452"/>
            <a:ext cx="1395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8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5" y="5745206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6" name="Ellipse 15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86887862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38555" y="1692212"/>
            <a:ext cx="6696837" cy="3526013"/>
          </a:xfrm>
        </p:spPr>
        <p:txBody>
          <a:bodyPr/>
          <a:lstStyle>
            <a:lvl1pPr>
              <a:defRPr sz="1440"/>
            </a:lvl1pPr>
            <a:lvl2pPr>
              <a:defRPr sz="1260"/>
            </a:lvl2pPr>
            <a:lvl3pPr>
              <a:defRPr sz="990"/>
            </a:lvl3pPr>
            <a:lvl4pPr>
              <a:defRPr sz="990"/>
            </a:lvl4pPr>
            <a:lvl5pPr>
              <a:defRPr sz="99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38555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5998" y="16922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35392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1238555" y="835918"/>
            <a:ext cx="6696837" cy="323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150425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8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2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24412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-215998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2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97963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1" y="1943401"/>
            <a:ext cx="3888705" cy="307777"/>
          </a:xfrm>
        </p:spPr>
        <p:txBody>
          <a:bodyPr>
            <a:noAutofit/>
          </a:bodyPr>
          <a:lstStyle>
            <a:lvl1pPr algn="l">
              <a:defRPr sz="189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1" y="2425700"/>
            <a:ext cx="3888705" cy="108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1215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>
            <a:off x="-215998" y="125002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5998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4423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2773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-215998" y="3505700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-215998" y="244350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86501611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1" y="781568"/>
            <a:ext cx="3988801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79"/>
            <a:ext cx="3988800" cy="33021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51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170">
                <a:latin typeface="+mj-lt"/>
              </a:defRPr>
            </a:lvl1pPr>
            <a:lvl2pPr>
              <a:defRPr sz="1170">
                <a:latin typeface="+mj-lt"/>
              </a:defRPr>
            </a:lvl2pPr>
            <a:lvl3pPr>
              <a:defRPr sz="1170">
                <a:latin typeface="+mj-lt"/>
              </a:defRPr>
            </a:lvl3pPr>
            <a:lvl4pPr>
              <a:defRPr sz="1170">
                <a:latin typeface="+mj-lt"/>
              </a:defRPr>
            </a:lvl4pPr>
            <a:lvl5pPr>
              <a:defRPr sz="117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>
            <a:off x="-216000" y="162487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>
            <a:endCxn id="40" idx="3"/>
          </p:cNvCxnSpPr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>
            <a:off x="-215998" y="110473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274181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-215998" y="32710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1" y="1085812"/>
            <a:ext cx="3772799" cy="16560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0" y="3271011"/>
            <a:ext cx="3772799" cy="16560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78354403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1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37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1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37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5998" y="499555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5998" y="349409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5998" y="2978937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5998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1"/>
            <a:ext cx="3772800" cy="1490134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503624"/>
            <a:ext cx="3772800" cy="1490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503624"/>
            <a:ext cx="3772800" cy="1490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6"/>
            <a:ext cx="3772800" cy="1490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8" name="Rett pil 47"/>
          <p:cNvCxnSpPr/>
          <p:nvPr userDrawn="1"/>
        </p:nvCxnSpPr>
        <p:spPr>
          <a:xfrm>
            <a:off x="-215998" y="1483976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606562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20000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52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8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44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1" name="Ellipse 10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115856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62854824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Ellipse 4"/>
          <p:cNvSpPr>
            <a:spLocks noChangeAspect="1"/>
          </p:cNvSpPr>
          <p:nvPr userDrawn="1"/>
        </p:nvSpPr>
        <p:spPr>
          <a:xfrm>
            <a:off x="9900000" y="1000224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6" name="Ellipse 5"/>
          <p:cNvSpPr>
            <a:spLocks noChangeAspect="1"/>
          </p:cNvSpPr>
          <p:nvPr userDrawn="1"/>
        </p:nvSpPr>
        <p:spPr>
          <a:xfrm>
            <a:off x="9900000" y="68486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419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72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7" name="Ellipse 6"/>
          <p:cNvSpPr>
            <a:spLocks noChangeAspect="1"/>
          </p:cNvSpPr>
          <p:nvPr userDrawn="1"/>
        </p:nvSpPr>
        <p:spPr>
          <a:xfrm>
            <a:off x="9900000" y="1931962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8" name="Ellipse 7"/>
          <p:cNvSpPr>
            <a:spLocks noChangeAspect="1"/>
          </p:cNvSpPr>
          <p:nvPr userDrawn="1"/>
        </p:nvSpPr>
        <p:spPr>
          <a:xfrm>
            <a:off x="9900000" y="2863700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3795437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4727175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72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9638422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360"/>
              </a:spcAft>
              <a:defRPr sz="1080"/>
            </a:lvl1pPr>
            <a:lvl2pPr>
              <a:spcAft>
                <a:spcPts val="360"/>
              </a:spcAft>
              <a:defRPr sz="1080"/>
            </a:lvl2pPr>
            <a:lvl3pPr>
              <a:spcAft>
                <a:spcPts val="360"/>
              </a:spcAft>
              <a:defRPr sz="1080"/>
            </a:lvl3pPr>
            <a:lvl4pPr>
              <a:spcAft>
                <a:spcPts val="360"/>
              </a:spcAft>
              <a:defRPr sz="1080"/>
            </a:lvl4pPr>
            <a:lvl5pPr>
              <a:spcAft>
                <a:spcPts val="360"/>
              </a:spcAft>
              <a:defRPr sz="108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30832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188564" indent="-188564" algn="ctr">
              <a:buNone/>
              <a:defRPr lang="en-US" sz="126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64180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62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35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35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35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35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30832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188564" indent="-188564" algn="ctr">
              <a:buNone/>
              <a:defRPr lang="en-US" sz="126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64180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2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1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30832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188564" indent="-188564" algn="ctr">
              <a:buNone/>
              <a:defRPr lang="en-GB" sz="126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64180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6" y="3208208"/>
            <a:ext cx="3925088" cy="230832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188564" indent="-188564" algn="ctr">
              <a:buNone/>
              <a:defRPr lang="en-GB" sz="126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64180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4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360"/>
              </a:spcAft>
              <a:defRPr sz="1080"/>
            </a:lvl1pPr>
            <a:lvl2pPr>
              <a:spcAft>
                <a:spcPts val="360"/>
              </a:spcAft>
              <a:defRPr sz="1080"/>
            </a:lvl2pPr>
            <a:lvl3pPr>
              <a:spcAft>
                <a:spcPts val="360"/>
              </a:spcAft>
              <a:defRPr sz="1080"/>
            </a:lvl3pPr>
            <a:lvl4pPr>
              <a:spcAft>
                <a:spcPts val="360"/>
              </a:spcAft>
              <a:defRPr sz="1080"/>
            </a:lvl4pPr>
            <a:lvl5pPr>
              <a:spcAft>
                <a:spcPts val="360"/>
              </a:spcAft>
              <a:defRPr sz="108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360"/>
              </a:spcAft>
              <a:defRPr sz="1080"/>
            </a:lvl1pPr>
            <a:lvl2pPr>
              <a:spcAft>
                <a:spcPts val="360"/>
              </a:spcAft>
              <a:defRPr sz="1080"/>
            </a:lvl2pPr>
            <a:lvl3pPr>
              <a:spcAft>
                <a:spcPts val="360"/>
              </a:spcAft>
              <a:defRPr sz="1080"/>
            </a:lvl3pPr>
            <a:lvl4pPr>
              <a:spcAft>
                <a:spcPts val="360"/>
              </a:spcAft>
              <a:defRPr sz="1080"/>
            </a:lvl4pPr>
            <a:lvl5pPr>
              <a:spcAft>
                <a:spcPts val="360"/>
              </a:spcAft>
              <a:defRPr sz="108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4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360"/>
              </a:spcAft>
              <a:defRPr sz="1080"/>
            </a:lvl1pPr>
            <a:lvl2pPr>
              <a:spcAft>
                <a:spcPts val="360"/>
              </a:spcAft>
              <a:defRPr sz="1080"/>
            </a:lvl2pPr>
            <a:lvl3pPr>
              <a:spcAft>
                <a:spcPts val="360"/>
              </a:spcAft>
              <a:defRPr sz="1080"/>
            </a:lvl3pPr>
            <a:lvl4pPr>
              <a:spcAft>
                <a:spcPts val="360"/>
              </a:spcAft>
              <a:defRPr sz="1080"/>
            </a:lvl4pPr>
            <a:lvl5pPr>
              <a:spcAft>
                <a:spcPts val="360"/>
              </a:spcAft>
              <a:defRPr sz="108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76981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20000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52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13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15" name="Bil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1695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16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6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08610" indent="0" algn="ctr">
              <a:buNone/>
              <a:defRPr sz="1350"/>
            </a:lvl2pPr>
            <a:lvl3pPr marL="617220" indent="0" algn="ctr">
              <a:buNone/>
              <a:defRPr sz="1215"/>
            </a:lvl3pPr>
            <a:lvl4pPr marL="925830" indent="0" algn="ctr">
              <a:buNone/>
              <a:defRPr sz="1080"/>
            </a:lvl4pPr>
            <a:lvl5pPr marL="1234440" indent="0" algn="ctr">
              <a:buNone/>
              <a:defRPr sz="1080"/>
            </a:lvl5pPr>
            <a:lvl6pPr marL="1543050" indent="0" algn="ctr">
              <a:buNone/>
              <a:defRPr sz="1080"/>
            </a:lvl6pPr>
            <a:lvl7pPr marL="1851660" indent="0" algn="ctr">
              <a:buNone/>
              <a:defRPr sz="1080"/>
            </a:lvl7pPr>
            <a:lvl8pPr marL="2160270" indent="0" algn="ctr">
              <a:buNone/>
              <a:defRPr sz="1080"/>
            </a:lvl8pPr>
            <a:lvl9pPr marL="2468880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7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44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13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17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28957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350"/>
              </a:spcAft>
              <a:buNone/>
              <a:defRPr sz="18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91" y="937452"/>
            <a:ext cx="1395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41909"/>
            <a:r>
              <a:rPr lang="nb-NO" sz="18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13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16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3386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52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25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440" cap="all" baseline="0">
                <a:solidFill>
                  <a:schemeClr val="tx1"/>
                </a:solidFill>
                <a:latin typeface="+mn-lt"/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5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6934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5" y="501651"/>
            <a:ext cx="6696837" cy="656718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5" y="1692214"/>
            <a:ext cx="6696837" cy="3526013"/>
          </a:xfrm>
        </p:spPr>
        <p:txBody>
          <a:bodyPr/>
          <a:lstStyle>
            <a:lvl1pPr>
              <a:defRPr sz="1440"/>
            </a:lvl1pPr>
            <a:lvl2pPr>
              <a:defRPr sz="1260"/>
            </a:lvl2pPr>
            <a:lvl3pPr>
              <a:defRPr sz="990"/>
            </a:lvl3pPr>
            <a:lvl4pPr>
              <a:defRPr sz="990"/>
            </a:lvl4pPr>
            <a:lvl5pPr>
              <a:defRPr sz="99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40740773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400408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400407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64" name="Text Placeholder 63"/>
          <p:cNvSpPr>
            <a:spLocks noGrp="1"/>
          </p:cNvSpPr>
          <p:nvPr>
            <p:ph type="body" sz="quarter" idx="28" hasCustomPrompt="1"/>
          </p:nvPr>
        </p:nvSpPr>
        <p:spPr>
          <a:xfrm>
            <a:off x="482601" y="5065777"/>
            <a:ext cx="8212138" cy="311087"/>
          </a:xfrm>
        </p:spPr>
        <p:txBody>
          <a:bodyPr anchor="b">
            <a:noAutofit/>
          </a:bodyPr>
          <a:lstStyle>
            <a:lvl1pPr marL="238602" indent="-238602">
              <a:buNone/>
              <a:defRPr sz="720"/>
            </a:lvl1pPr>
            <a:lvl2pPr marL="356400" indent="0">
              <a:buNone/>
              <a:defRPr sz="720"/>
            </a:lvl2pPr>
            <a:lvl3pPr marL="550800" indent="0">
              <a:buNone/>
              <a:defRPr sz="720"/>
            </a:lvl3pPr>
            <a:lvl4pPr marL="745200" indent="0">
              <a:buNone/>
              <a:defRPr sz="720"/>
            </a:lvl4pPr>
            <a:lvl5pPr marL="939600" indent="0">
              <a:buNone/>
              <a:defRPr sz="720"/>
            </a:lvl5pPr>
          </a:lstStyle>
          <a:p>
            <a:pPr lvl="0"/>
            <a:r>
              <a:rPr lang="en-US" dirty="0"/>
              <a:t>Not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7655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3959412" cy="33787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684232"/>
            <a:ext cx="3959412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66212" y="734549"/>
            <a:ext cx="8211600" cy="657434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734588" y="1398333"/>
            <a:ext cx="3959412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0" y="1398332"/>
            <a:ext cx="3952096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95636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2655936" cy="33787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6038063" y="1684232"/>
            <a:ext cx="2655936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6038063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3" y="1398332"/>
            <a:ext cx="2651029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35" name="Plassholder for innhold 2"/>
          <p:cNvSpPr>
            <a:spLocks noGrp="1"/>
          </p:cNvSpPr>
          <p:nvPr>
            <p:ph idx="29"/>
          </p:nvPr>
        </p:nvSpPr>
        <p:spPr>
          <a:xfrm>
            <a:off x="3258287" y="1684232"/>
            <a:ext cx="2655936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6" name="Plassholder for tekst 16"/>
          <p:cNvSpPr>
            <a:spLocks noGrp="1"/>
          </p:cNvSpPr>
          <p:nvPr>
            <p:ph type="body" sz="quarter" idx="30"/>
          </p:nvPr>
        </p:nvSpPr>
        <p:spPr>
          <a:xfrm>
            <a:off x="3258287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771982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caption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8546"/>
            <a:ext cx="9143999" cy="5715000"/>
          </a:xfrm>
          <a:prstGeom prst="rect">
            <a:avLst/>
          </a:prstGeom>
        </p:spPr>
      </p:pic>
      <p:sp>
        <p:nvSpPr>
          <p:cNvPr id="13" name="Plassholder for bilde 12"/>
          <p:cNvSpPr>
            <a:spLocks noGrp="1"/>
          </p:cNvSpPr>
          <p:nvPr>
            <p:ph type="pic" sz="quarter" idx="16"/>
          </p:nvPr>
        </p:nvSpPr>
        <p:spPr>
          <a:xfrm>
            <a:off x="3177000" y="1070220"/>
            <a:ext cx="2790000" cy="1728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tekst 5"/>
          <p:cNvSpPr>
            <a:spLocks noGrp="1"/>
          </p:cNvSpPr>
          <p:nvPr>
            <p:ph type="body" sz="quarter" idx="20" hasCustomPrompt="1"/>
          </p:nvPr>
        </p:nvSpPr>
        <p:spPr>
          <a:xfrm>
            <a:off x="507600" y="2686200"/>
            <a:ext cx="8128800" cy="266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11" name="Tittel 1"/>
          <p:cNvSpPr>
            <a:spLocks noGrp="1"/>
          </p:cNvSpPr>
          <p:nvPr>
            <p:ph type="ctrTitle"/>
          </p:nvPr>
        </p:nvSpPr>
        <p:spPr>
          <a:xfrm>
            <a:off x="1143000" y="2952600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7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3408601"/>
            <a:ext cx="6858000" cy="184666"/>
          </a:xfrm>
        </p:spPr>
        <p:txBody>
          <a:bodyPr>
            <a:spAutoFit/>
          </a:bodyPr>
          <a:lstStyle>
            <a:lvl1pPr marL="0" indent="0" algn="ctr">
              <a:spcAft>
                <a:spcPts val="1200"/>
              </a:spcAft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b-NO" dirty="0" err="1"/>
              <a:t>Text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1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666831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2655936" cy="238361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6038063" y="1684227"/>
            <a:ext cx="2655936" cy="2383608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6038063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3" y="1398332"/>
            <a:ext cx="2651029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35" name="Plassholder for innhold 2"/>
          <p:cNvSpPr>
            <a:spLocks noGrp="1"/>
          </p:cNvSpPr>
          <p:nvPr>
            <p:ph idx="29"/>
          </p:nvPr>
        </p:nvSpPr>
        <p:spPr>
          <a:xfrm>
            <a:off x="3258287" y="1684227"/>
            <a:ext cx="2655936" cy="2383608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6" name="Plassholder for tekst 16"/>
          <p:cNvSpPr>
            <a:spLocks noGrp="1"/>
          </p:cNvSpPr>
          <p:nvPr>
            <p:ph type="body" sz="quarter" idx="30"/>
          </p:nvPr>
        </p:nvSpPr>
        <p:spPr>
          <a:xfrm>
            <a:off x="3258287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Plassholder for innhold 2"/>
          <p:cNvSpPr>
            <a:spLocks noGrp="1"/>
          </p:cNvSpPr>
          <p:nvPr>
            <p:ph idx="31"/>
          </p:nvPr>
        </p:nvSpPr>
        <p:spPr>
          <a:xfrm>
            <a:off x="482401" y="4131847"/>
            <a:ext cx="2655936" cy="94399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4" name="Plassholder for innhold 2"/>
          <p:cNvSpPr>
            <a:spLocks noGrp="1"/>
          </p:cNvSpPr>
          <p:nvPr>
            <p:ph idx="32"/>
          </p:nvPr>
        </p:nvSpPr>
        <p:spPr>
          <a:xfrm>
            <a:off x="6038063" y="4131852"/>
            <a:ext cx="2655936" cy="94399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7" name="Plassholder for innhold 2"/>
          <p:cNvSpPr>
            <a:spLocks noGrp="1"/>
          </p:cNvSpPr>
          <p:nvPr>
            <p:ph idx="33"/>
          </p:nvPr>
        </p:nvSpPr>
        <p:spPr>
          <a:xfrm>
            <a:off x="3258287" y="4131852"/>
            <a:ext cx="2655936" cy="94399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241559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39833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38485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39833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38485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485775" y="501650"/>
            <a:ext cx="8172450" cy="659983"/>
          </a:xfrm>
        </p:spPr>
        <p:txBody>
          <a:bodyPr anchor="ctr" anchorCtr="0">
            <a:noAutofit/>
          </a:bodyPr>
          <a:lstStyle>
            <a:lvl1pPr algn="ctr">
              <a:defRPr sz="189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 rot="16200000">
            <a:off x="-126000" y="160938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4966978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6000" y="3503623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6000" y="2959887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629807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612762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612762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635272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8579275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5" y="1943402"/>
            <a:ext cx="3888705" cy="307777"/>
          </a:xfrm>
        </p:spPr>
        <p:txBody>
          <a:bodyPr>
            <a:noAutofit/>
          </a:bodyPr>
          <a:lstStyle>
            <a:lvl1pPr algn="l">
              <a:defRPr sz="1890">
                <a:latin typeface="+mn-lt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5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2167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 rot="16200000">
            <a:off x="-126000" y="1160024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3470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0868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 rot="16200000">
            <a:off x="-126000" y="34157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 rot="16200000">
            <a:off x="-126000" y="235350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46595076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7" y="837171"/>
            <a:ext cx="3988801" cy="323165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80482"/>
            <a:ext cx="3988800" cy="330213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9706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8772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20381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170">
                <a:latin typeface="+mj-lt"/>
              </a:defRPr>
            </a:lvl1pPr>
            <a:lvl2pPr>
              <a:defRPr sz="1170">
                <a:latin typeface="+mj-lt"/>
              </a:defRPr>
            </a:lvl2pPr>
            <a:lvl3pPr>
              <a:defRPr sz="1170">
                <a:latin typeface="+mj-lt"/>
              </a:defRPr>
            </a:lvl3pPr>
            <a:lvl4pPr>
              <a:defRPr sz="1170">
                <a:latin typeface="+mj-lt"/>
              </a:defRPr>
            </a:lvl4pPr>
            <a:lvl5pPr>
              <a:defRPr sz="1170">
                <a:latin typeface="+mj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16200000">
            <a:off x="-126000" y="1534878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 rot="16200000">
            <a:off x="-126000" y="1014733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 rot="16200000">
            <a:off x="-126000" y="260981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 rot="16200000">
            <a:off x="-126000" y="31810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3" y="1141414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3" y="3326613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89939120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57112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1"/>
            <a:ext cx="6696837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03309478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2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3"/>
            <a:ext cx="6696837" cy="3526013"/>
          </a:xfrm>
        </p:spPr>
        <p:txBody>
          <a:bodyPr/>
          <a:lstStyle>
            <a:lvl1pPr>
              <a:defRPr sz="1377"/>
            </a:lvl1pPr>
            <a:lvl2pPr>
              <a:defRPr sz="1215"/>
            </a:lvl2pPr>
            <a:lvl3pPr>
              <a:defRPr sz="972"/>
            </a:lvl3pPr>
            <a:lvl4pPr>
              <a:defRPr sz="972"/>
            </a:lvl4pPr>
            <a:lvl5pPr>
              <a:defRPr sz="972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17205">
              <a:defRPr/>
            </a:pPr>
            <a:r>
              <a:rPr lang="nb-NO" sz="689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97766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0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01572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2771076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0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3867736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le pictures with caption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8546"/>
            <a:ext cx="9143999" cy="5715000"/>
          </a:xfrm>
          <a:prstGeom prst="rect">
            <a:avLst/>
          </a:prstGeom>
        </p:spPr>
      </p:pic>
      <p:sp>
        <p:nvSpPr>
          <p:cNvPr id="16" name="Plassholder for tekst 15"/>
          <p:cNvSpPr>
            <a:spLocks noGrp="1"/>
          </p:cNvSpPr>
          <p:nvPr>
            <p:ph type="body" sz="quarter" idx="17"/>
          </p:nvPr>
        </p:nvSpPr>
        <p:spPr>
          <a:xfrm>
            <a:off x="1146509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bilde 19"/>
          <p:cNvSpPr>
            <a:spLocks noGrp="1"/>
          </p:cNvSpPr>
          <p:nvPr>
            <p:ph type="pic" sz="quarter" idx="18"/>
          </p:nvPr>
        </p:nvSpPr>
        <p:spPr>
          <a:xfrm>
            <a:off x="11430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1" name="Plassholder for bilde 19"/>
          <p:cNvSpPr>
            <a:spLocks noGrp="1"/>
          </p:cNvSpPr>
          <p:nvPr>
            <p:ph type="pic" sz="quarter" idx="19"/>
          </p:nvPr>
        </p:nvSpPr>
        <p:spPr>
          <a:xfrm>
            <a:off x="29529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2" name="Plassholder for bilde 19"/>
          <p:cNvSpPr>
            <a:spLocks noGrp="1"/>
          </p:cNvSpPr>
          <p:nvPr>
            <p:ph type="pic" sz="quarter" idx="20"/>
          </p:nvPr>
        </p:nvSpPr>
        <p:spPr>
          <a:xfrm>
            <a:off x="47628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3" name="Plassholder for bilde 19"/>
          <p:cNvSpPr>
            <a:spLocks noGrp="1"/>
          </p:cNvSpPr>
          <p:nvPr>
            <p:ph type="pic" sz="quarter" idx="21"/>
          </p:nvPr>
        </p:nvSpPr>
        <p:spPr>
          <a:xfrm>
            <a:off x="6572700" y="3949200"/>
            <a:ext cx="1396800" cy="864000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6" name="Plassholder for tekst 15"/>
          <p:cNvSpPr>
            <a:spLocks noGrp="1"/>
          </p:cNvSpPr>
          <p:nvPr>
            <p:ph type="body" sz="quarter" idx="22"/>
          </p:nvPr>
        </p:nvSpPr>
        <p:spPr>
          <a:xfrm>
            <a:off x="2952901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7" name="Plassholder for tekst 15"/>
          <p:cNvSpPr>
            <a:spLocks noGrp="1"/>
          </p:cNvSpPr>
          <p:nvPr>
            <p:ph type="body" sz="quarter" idx="23"/>
          </p:nvPr>
        </p:nvSpPr>
        <p:spPr>
          <a:xfrm>
            <a:off x="4762822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8" name="Plassholder for tekst 15"/>
          <p:cNvSpPr>
            <a:spLocks noGrp="1"/>
          </p:cNvSpPr>
          <p:nvPr>
            <p:ph type="body" sz="quarter" idx="24"/>
          </p:nvPr>
        </p:nvSpPr>
        <p:spPr>
          <a:xfrm>
            <a:off x="6572710" y="4935600"/>
            <a:ext cx="1396801" cy="198376"/>
          </a:xfrm>
        </p:spPr>
        <p:txBody>
          <a:bodyPr wrap="square">
            <a:normAutofit/>
          </a:bodyPr>
          <a:lstStyle>
            <a:lvl1pPr marL="0" indent="0" algn="ctr">
              <a:buNone/>
              <a:defRPr sz="120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9" name="Plassholder for bilde 12"/>
          <p:cNvSpPr>
            <a:spLocks noGrp="1"/>
          </p:cNvSpPr>
          <p:nvPr>
            <p:ph type="pic" sz="quarter" idx="16"/>
          </p:nvPr>
        </p:nvSpPr>
        <p:spPr>
          <a:xfrm>
            <a:off x="3177000" y="1070220"/>
            <a:ext cx="2790000" cy="1728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30" name="Plassholder for tekst 5"/>
          <p:cNvSpPr>
            <a:spLocks noGrp="1"/>
          </p:cNvSpPr>
          <p:nvPr>
            <p:ph type="body" sz="quarter" idx="28" hasCustomPrompt="1"/>
          </p:nvPr>
        </p:nvSpPr>
        <p:spPr>
          <a:xfrm>
            <a:off x="507600" y="2686200"/>
            <a:ext cx="8128800" cy="266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32" name="Tittel 1"/>
          <p:cNvSpPr>
            <a:spLocks noGrp="1"/>
          </p:cNvSpPr>
          <p:nvPr>
            <p:ph type="ctrTitle"/>
          </p:nvPr>
        </p:nvSpPr>
        <p:spPr>
          <a:xfrm>
            <a:off x="1143000" y="2952600"/>
            <a:ext cx="6858000" cy="276999"/>
          </a:xfrm>
        </p:spPr>
        <p:txBody>
          <a:bodyPr anchor="t" anchorCtr="0">
            <a:noAutofit/>
          </a:bodyPr>
          <a:lstStyle>
            <a:lvl1pPr algn="ctr">
              <a:defRPr sz="21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3408601"/>
            <a:ext cx="6858000" cy="184666"/>
          </a:xfrm>
        </p:spPr>
        <p:txBody>
          <a:bodyPr>
            <a:spAutoFit/>
          </a:bodyPr>
          <a:lstStyle>
            <a:lvl1pPr marL="0" indent="0" algn="ctr">
              <a:spcAft>
                <a:spcPts val="1200"/>
              </a:spcAft>
              <a:buNone/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b-NO" dirty="0" err="1"/>
              <a:t>Text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9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053469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94124524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24756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86080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38655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91646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86031532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6" name="Ellipse 15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89097985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38555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38555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5999" y="16922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35392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1238555" y="835917"/>
            <a:ext cx="6696837" cy="323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6238655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605623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-215999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34387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0"/>
            <a:ext cx="9143999" cy="5715000"/>
          </a:xfrm>
          <a:prstGeom prst="rect">
            <a:avLst/>
          </a:prstGeom>
        </p:spPr>
      </p:pic>
      <p:sp>
        <p:nvSpPr>
          <p:cNvPr id="13" name="Plassholder for tekst 7"/>
          <p:cNvSpPr>
            <a:spLocks noGrp="1" noChangeAspect="1"/>
          </p:cNvSpPr>
          <p:nvPr>
            <p:ph type="body" sz="quarter" idx="16"/>
          </p:nvPr>
        </p:nvSpPr>
        <p:spPr>
          <a:xfrm>
            <a:off x="450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8" name="Plassholder for tekst 7"/>
          <p:cNvSpPr>
            <a:spLocks noGrp="1" noChangeAspect="1"/>
          </p:cNvSpPr>
          <p:nvPr>
            <p:ph type="body" sz="quarter" idx="17"/>
          </p:nvPr>
        </p:nvSpPr>
        <p:spPr>
          <a:xfrm>
            <a:off x="6498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9" name="Plassholder for tekst 7"/>
          <p:cNvSpPr>
            <a:spLocks noGrp="1" noChangeAspect="1"/>
          </p:cNvSpPr>
          <p:nvPr>
            <p:ph type="body" sz="quarter" idx="18"/>
          </p:nvPr>
        </p:nvSpPr>
        <p:spPr>
          <a:xfrm>
            <a:off x="3474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9"/>
          </p:nvPr>
        </p:nvSpPr>
        <p:spPr>
          <a:xfrm>
            <a:off x="450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7" name="Plassholder for tekst 15"/>
          <p:cNvSpPr>
            <a:spLocks noGrp="1"/>
          </p:cNvSpPr>
          <p:nvPr>
            <p:ph type="body" sz="quarter" idx="20"/>
          </p:nvPr>
        </p:nvSpPr>
        <p:spPr>
          <a:xfrm>
            <a:off x="3473999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/>
          </p:nvPr>
        </p:nvSpPr>
        <p:spPr>
          <a:xfrm>
            <a:off x="6498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dato 5"/>
          <p:cNvSpPr>
            <a:spLocks noGrp="1"/>
          </p:cNvSpPr>
          <p:nvPr>
            <p:ph type="dt" sz="half" idx="22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6506892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0" y="1943400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0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1215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>
            <a:off x="-215999" y="125002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442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277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-215999" y="3505700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-215999" y="244350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08573621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0" y="781568"/>
            <a:ext cx="3988801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78"/>
            <a:ext cx="3988800" cy="330213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5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1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>
            <a:off x="-216000" y="162487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>
            <a:endCxn id="40" idx="3"/>
          </p:cNvCxnSpPr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>
            <a:off x="-215999" y="110473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274181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-215999" y="32710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0" y="1085812"/>
            <a:ext cx="3772799" cy="165600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199" y="3271011"/>
            <a:ext cx="3772799" cy="165600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78244389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5999" y="499555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5999" y="349409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5999" y="2978937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1"/>
            <a:ext cx="3772800" cy="1490134"/>
          </a:xfrm>
        </p:spPr>
        <p:txBody>
          <a:bodyPr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503623"/>
            <a:ext cx="3772800" cy="14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503623"/>
            <a:ext cx="3772800" cy="14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cxnSp>
        <p:nvCxnSpPr>
          <p:cNvPr id="48" name="Rett pil 47"/>
          <p:cNvCxnSpPr/>
          <p:nvPr userDrawn="1"/>
        </p:nvCxnSpPr>
        <p:spPr>
          <a:xfrm>
            <a:off x="-215999" y="1483976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063448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20000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1" name="Ellipse 10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54059938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Ellipse 4"/>
          <p:cNvSpPr>
            <a:spLocks noChangeAspect="1"/>
          </p:cNvSpPr>
          <p:nvPr userDrawn="1"/>
        </p:nvSpPr>
        <p:spPr>
          <a:xfrm>
            <a:off x="9900000" y="1000224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6" name="Ellipse 5"/>
          <p:cNvSpPr>
            <a:spLocks noChangeAspect="1"/>
          </p:cNvSpPr>
          <p:nvPr userDrawn="1"/>
        </p:nvSpPr>
        <p:spPr>
          <a:xfrm>
            <a:off x="9900000" y="68486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7" name="Ellipse 6"/>
          <p:cNvSpPr>
            <a:spLocks noChangeAspect="1"/>
          </p:cNvSpPr>
          <p:nvPr userDrawn="1"/>
        </p:nvSpPr>
        <p:spPr>
          <a:xfrm>
            <a:off x="9900000" y="1931962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8" name="Ellipse 7"/>
          <p:cNvSpPr>
            <a:spLocks noChangeAspect="1"/>
          </p:cNvSpPr>
          <p:nvPr userDrawn="1"/>
        </p:nvSpPr>
        <p:spPr>
          <a:xfrm>
            <a:off x="9900000" y="2863700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3795437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4727175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48319410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75"/>
            <a:ext cx="3925088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1224" y="1333675"/>
            <a:ext cx="3922776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85775" y="4924431"/>
            <a:ext cx="8210550" cy="314325"/>
          </a:xfrm>
        </p:spPr>
        <p:txBody>
          <a:bodyPr anchor="b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400" y="650130"/>
            <a:ext cx="821160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lassholder for innhold 2"/>
          <p:cNvSpPr>
            <a:spLocks noGrp="1"/>
          </p:cNvSpPr>
          <p:nvPr>
            <p:ph idx="29"/>
          </p:nvPr>
        </p:nvSpPr>
        <p:spPr>
          <a:xfrm>
            <a:off x="4769500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1841445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7882"/>
            <a:ext cx="8229600" cy="39872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061810" y="5325849"/>
            <a:ext cx="528991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fld id="{E6472A54-E5C4-4117-AA7A-BA9EEF9678DD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2" y="5325849"/>
            <a:ext cx="2895600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5325849"/>
            <a:ext cx="128240" cy="153888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latin typeface="Metric Regular" pitchFamily="34" charset="0"/>
              </a:defRPr>
            </a:lvl1pPr>
          </a:lstStyle>
          <a:p>
            <a:fld id="{71F00C8B-5560-470D-85B4-242E76DCA73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17776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0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185126"/>
      </p:ext>
    </p:extLst>
  </p:cSld>
  <p:clrMapOvr>
    <a:masterClrMapping/>
  </p:clrMapOvr>
  <p:hf hdr="0" dt="0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7" name="Bilde 2">
            <a:extLst>
              <a:ext uri="{FF2B5EF4-FFF2-40B4-BE49-F238E27FC236}">
                <a16:creationId xmlns:a16="http://schemas.microsoft.com/office/drawing/2014/main" id="{22CDF29C-4B50-4BBA-A86D-64CE245148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9" name="TekstSylinder 3">
            <a:extLst>
              <a:ext uri="{FF2B5EF4-FFF2-40B4-BE49-F238E27FC236}">
                <a16:creationId xmlns:a16="http://schemas.microsoft.com/office/drawing/2014/main" id="{2B02B005-8901-4D0B-B1BA-952BEB1A983C}"/>
              </a:ext>
            </a:extLst>
          </p:cNvPr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10" name="Bilde 8">
            <a:extLst>
              <a:ext uri="{FF2B5EF4-FFF2-40B4-BE49-F238E27FC236}">
                <a16:creationId xmlns:a16="http://schemas.microsoft.com/office/drawing/2014/main" id="{340A5A57-81CB-45C1-8733-12FF69C1F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537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0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766210119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993384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84168"/>
      </p:ext>
    </p:extLst>
  </p:cSld>
  <p:clrMapOvr>
    <a:masterClrMapping/>
  </p:clrMapOvr>
  <p:hf hdr="0" dt="0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8892537"/>
      </p:ext>
    </p:extLst>
  </p:cSld>
  <p:clrMapOvr>
    <a:masterClrMapping/>
  </p:clrMapOvr>
  <p:hf hdr="0" dt="0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042432"/>
      </p:ext>
    </p:extLst>
  </p:cSld>
  <p:clrMapOvr>
    <a:masterClrMapping/>
  </p:clrMapOvr>
  <p:hf hdr="0" dt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58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3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09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08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80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71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62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126461890"/>
      </p:ext>
    </p:extLst>
  </p:cSld>
  <p:clrMapOvr>
    <a:masterClrMapping/>
  </p:clrMapOvr>
  <p:transition spd="med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1465287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4401670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bg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7206966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312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90501684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5453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ground 2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1313629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13729234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7882"/>
            <a:ext cx="8229600" cy="39872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061810" y="5325849"/>
            <a:ext cx="528991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fld id="{E6472A54-E5C4-4117-AA7A-BA9EEF9678DD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2" y="5325849"/>
            <a:ext cx="2895600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5325849"/>
            <a:ext cx="128240" cy="153888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latin typeface="Metric Regular" pitchFamily="34" charset="0"/>
              </a:defRPr>
            </a:lvl1pPr>
          </a:lstStyle>
          <a:p>
            <a:fld id="{71F00C8B-5560-470D-85B4-242E76DCA73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81297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2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73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11263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hree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Bilde 9" descr="Bilde 9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320000" y="342000"/>
            <a:ext cx="504001" cy="252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536586" y="5446659"/>
            <a:ext cx="76944" cy="92333"/>
          </a:xfrm>
          <a:prstGeom prst="rect">
            <a:avLst/>
          </a:prstGeom>
        </p:spPr>
        <p:txBody>
          <a:bodyPr lIns="0" tIns="0" rIns="0" bIns="0" anchor="ctr"/>
          <a:lstStyle>
            <a:lvl1pPr defTabSz="641909">
              <a:defRPr sz="600">
                <a:latin typeface="Metric Regular"/>
                <a:ea typeface="Metric Regular"/>
                <a:cs typeface="Metric Regular"/>
                <a:sym typeface="Metric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8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82401" y="1684226"/>
            <a:ext cx="2655936" cy="3378703"/>
          </a:xfrm>
          <a:prstGeom prst="rect">
            <a:avLst/>
          </a:prstGeom>
        </p:spPr>
        <p:txBody>
          <a:bodyPr lIns="0" tIns="0" rIns="0" bIns="0" anchor="t"/>
          <a:lstStyle>
            <a:lvl1pPr marL="102856" indent="-102856" defTabSz="685793">
              <a:spcBef>
                <a:spcPts val="713"/>
              </a:spcBef>
              <a:buSzPct val="100000"/>
              <a:buFont typeface="Arial"/>
              <a:defRPr sz="1200">
                <a:latin typeface="+mj-lt"/>
                <a:ea typeface="+mj-ea"/>
                <a:cs typeface="+mj-cs"/>
                <a:sym typeface="Metric Light"/>
              </a:defRPr>
            </a:lvl1pPr>
            <a:lvl2pPr marL="284997" indent="-119999" defTabSz="685793">
              <a:spcBef>
                <a:spcPts val="713"/>
              </a:spcBef>
              <a:buSzPct val="100000"/>
              <a:buFont typeface="Arial"/>
              <a:buChar char="−"/>
              <a:defRPr sz="1200">
                <a:latin typeface="+mj-lt"/>
                <a:ea typeface="+mj-ea"/>
                <a:cs typeface="+mj-cs"/>
                <a:sym typeface="Metric Light"/>
              </a:defRPr>
            </a:lvl2pPr>
            <a:lvl3pPr marL="434996" indent="-179999" defTabSz="685793">
              <a:spcBef>
                <a:spcPts val="713"/>
              </a:spcBef>
              <a:buSzPct val="100000"/>
              <a:buFont typeface="Arial"/>
              <a:buChar char="−"/>
              <a:defRPr sz="1200">
                <a:latin typeface="+mj-lt"/>
                <a:ea typeface="+mj-ea"/>
                <a:cs typeface="+mj-cs"/>
                <a:sym typeface="Metric Light"/>
              </a:defRPr>
            </a:lvl3pPr>
            <a:lvl4pPr marL="524995" indent="-179998" defTabSz="685793">
              <a:spcBef>
                <a:spcPts val="713"/>
              </a:spcBef>
              <a:buSzPct val="100000"/>
              <a:buFont typeface="Arial"/>
              <a:buChar char="−"/>
              <a:defRPr sz="1200">
                <a:latin typeface="+mj-lt"/>
                <a:ea typeface="+mj-ea"/>
                <a:cs typeface="+mj-cs"/>
                <a:sym typeface="Metric Light"/>
              </a:defRPr>
            </a:lvl4pPr>
            <a:lvl5pPr marL="614994" indent="-179998" defTabSz="685793">
              <a:spcBef>
                <a:spcPts val="713"/>
              </a:spcBef>
              <a:buSzPct val="100000"/>
              <a:buFont typeface="Arial"/>
              <a:buChar char="−"/>
              <a:defRPr sz="1200">
                <a:latin typeface="+mj-lt"/>
                <a:ea typeface="+mj-ea"/>
                <a:cs typeface="+mj-cs"/>
                <a:sym typeface="Metric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3" name="Title Text"/>
          <p:cNvSpPr txBox="1">
            <a:spLocks noGrp="1"/>
          </p:cNvSpPr>
          <p:nvPr>
            <p:ph type="title"/>
          </p:nvPr>
        </p:nvSpPr>
        <p:spPr>
          <a:xfrm>
            <a:off x="482400" y="501651"/>
            <a:ext cx="8211600" cy="657433"/>
          </a:xfrm>
          <a:prstGeom prst="rect">
            <a:avLst/>
          </a:prstGeom>
        </p:spPr>
        <p:txBody>
          <a:bodyPr lIns="0" tIns="0" rIns="0" bIns="0"/>
          <a:lstStyle>
            <a:lvl1pPr defTabSz="685793">
              <a:defRPr sz="2025">
                <a:solidFill>
                  <a:srgbClr val="00000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84" name="Rett pil 18"/>
          <p:cNvSpPr/>
          <p:nvPr/>
        </p:nvSpPr>
        <p:spPr>
          <a:xfrm>
            <a:off x="482400" y="-216000"/>
            <a:ext cx="0" cy="180000"/>
          </a:xfrm>
          <a:prstGeom prst="line">
            <a:avLst/>
          </a:prstGeom>
          <a:ln w="25400">
            <a:solidFill>
              <a:srgbClr val="000000"/>
            </a:solidFill>
            <a:miter/>
            <a:tailEnd type="triangle"/>
          </a:ln>
        </p:spPr>
        <p:txBody>
          <a:bodyPr lIns="41148" tIns="41148" rIns="41148" bIns="41148"/>
          <a:lstStyle/>
          <a:p>
            <a:pPr algn="l" defTabSz="641909">
              <a:defRPr sz="3200" b="0">
                <a:latin typeface="+mj-lt"/>
                <a:ea typeface="+mj-ea"/>
                <a:cs typeface="+mj-cs"/>
                <a:sym typeface="Metric Light"/>
              </a:defRPr>
            </a:pPr>
            <a:endParaRPr sz="1200"/>
          </a:p>
        </p:txBody>
      </p:sp>
      <p:sp>
        <p:nvSpPr>
          <p:cNvPr id="185" name="Rett pil 19"/>
          <p:cNvSpPr/>
          <p:nvPr/>
        </p:nvSpPr>
        <p:spPr>
          <a:xfrm>
            <a:off x="-215429" y="1401634"/>
            <a:ext cx="180000" cy="0"/>
          </a:xfrm>
          <a:prstGeom prst="line">
            <a:avLst/>
          </a:prstGeom>
          <a:ln w="25400">
            <a:solidFill>
              <a:srgbClr val="000000"/>
            </a:solidFill>
            <a:miter/>
            <a:tailEnd type="triangle"/>
          </a:ln>
        </p:spPr>
        <p:txBody>
          <a:bodyPr lIns="41148" tIns="41148" rIns="41148" bIns="41148"/>
          <a:lstStyle/>
          <a:p>
            <a:pPr algn="l" defTabSz="641909">
              <a:defRPr sz="3200" b="0">
                <a:latin typeface="+mj-lt"/>
                <a:ea typeface="+mj-ea"/>
                <a:cs typeface="+mj-cs"/>
                <a:sym typeface="Metric Light"/>
              </a:defRPr>
            </a:pPr>
            <a:endParaRPr sz="1200"/>
          </a:p>
        </p:txBody>
      </p:sp>
      <p:sp>
        <p:nvSpPr>
          <p:cNvPr id="186" name="Rett pil 20"/>
          <p:cNvSpPr/>
          <p:nvPr/>
        </p:nvSpPr>
        <p:spPr>
          <a:xfrm>
            <a:off x="-216000" y="4921635"/>
            <a:ext cx="180000" cy="0"/>
          </a:xfrm>
          <a:prstGeom prst="line">
            <a:avLst/>
          </a:prstGeom>
          <a:ln w="25400">
            <a:solidFill>
              <a:srgbClr val="000000"/>
            </a:solidFill>
            <a:miter/>
            <a:tailEnd type="triangle"/>
          </a:ln>
        </p:spPr>
        <p:txBody>
          <a:bodyPr lIns="41148" tIns="41148" rIns="41148" bIns="41148"/>
          <a:lstStyle/>
          <a:p>
            <a:pPr algn="l" defTabSz="641909">
              <a:defRPr sz="3200" b="0">
                <a:latin typeface="+mj-lt"/>
                <a:ea typeface="+mj-ea"/>
                <a:cs typeface="+mj-cs"/>
                <a:sym typeface="Metric Light"/>
              </a:defRPr>
            </a:pPr>
            <a:endParaRPr sz="1200"/>
          </a:p>
        </p:txBody>
      </p:sp>
      <p:sp>
        <p:nvSpPr>
          <p:cNvPr id="187" name="Rett pil 21"/>
          <p:cNvSpPr/>
          <p:nvPr/>
        </p:nvSpPr>
        <p:spPr>
          <a:xfrm>
            <a:off x="8694000" y="-216000"/>
            <a:ext cx="0" cy="180000"/>
          </a:xfrm>
          <a:prstGeom prst="line">
            <a:avLst/>
          </a:prstGeom>
          <a:ln w="25400">
            <a:solidFill>
              <a:srgbClr val="000000"/>
            </a:solidFill>
            <a:miter/>
            <a:tailEnd type="triangle"/>
          </a:ln>
        </p:spPr>
        <p:txBody>
          <a:bodyPr lIns="41148" tIns="41148" rIns="41148" bIns="41148"/>
          <a:lstStyle/>
          <a:p>
            <a:pPr algn="l" defTabSz="641909">
              <a:defRPr sz="3200" b="0">
                <a:latin typeface="+mj-lt"/>
                <a:ea typeface="+mj-ea"/>
                <a:cs typeface="+mj-cs"/>
                <a:sym typeface="Metric Light"/>
              </a:defRPr>
            </a:pPr>
            <a:endParaRPr sz="1200"/>
          </a:p>
        </p:txBody>
      </p:sp>
      <p:sp>
        <p:nvSpPr>
          <p:cNvPr id="188" name="Rett pil 22"/>
          <p:cNvSpPr/>
          <p:nvPr/>
        </p:nvSpPr>
        <p:spPr>
          <a:xfrm>
            <a:off x="4434497" y="-216000"/>
            <a:ext cx="0" cy="180000"/>
          </a:xfrm>
          <a:prstGeom prst="line">
            <a:avLst/>
          </a:prstGeom>
          <a:ln w="25400">
            <a:solidFill>
              <a:srgbClr val="000000"/>
            </a:solidFill>
            <a:miter/>
            <a:tailEnd type="triangle"/>
          </a:ln>
        </p:spPr>
        <p:txBody>
          <a:bodyPr lIns="41148" tIns="41148" rIns="41148" bIns="41148"/>
          <a:lstStyle/>
          <a:p>
            <a:pPr algn="l" defTabSz="641909">
              <a:defRPr sz="3200" b="0">
                <a:latin typeface="+mj-lt"/>
                <a:ea typeface="+mj-ea"/>
                <a:cs typeface="+mj-cs"/>
                <a:sym typeface="Metric Light"/>
              </a:defRPr>
            </a:pPr>
            <a:endParaRPr sz="1200"/>
          </a:p>
        </p:txBody>
      </p:sp>
      <p:sp>
        <p:nvSpPr>
          <p:cNvPr id="189" name="Rett pil 23"/>
          <p:cNvSpPr/>
          <p:nvPr/>
        </p:nvSpPr>
        <p:spPr>
          <a:xfrm>
            <a:off x="4734588" y="-216000"/>
            <a:ext cx="0" cy="180000"/>
          </a:xfrm>
          <a:prstGeom prst="line">
            <a:avLst/>
          </a:prstGeom>
          <a:ln w="25400">
            <a:solidFill>
              <a:srgbClr val="000000"/>
            </a:solidFill>
            <a:miter/>
            <a:tailEnd type="triangle"/>
          </a:ln>
        </p:spPr>
        <p:txBody>
          <a:bodyPr lIns="41148" tIns="41148" rIns="41148" bIns="41148"/>
          <a:lstStyle/>
          <a:p>
            <a:pPr algn="l" defTabSz="641909">
              <a:defRPr sz="3200" b="0">
                <a:latin typeface="+mj-lt"/>
                <a:ea typeface="+mj-ea"/>
                <a:cs typeface="+mj-cs"/>
                <a:sym typeface="Metric Light"/>
              </a:defRPr>
            </a:pPr>
            <a:endParaRPr sz="1200"/>
          </a:p>
        </p:txBody>
      </p:sp>
      <p:grpSp>
        <p:nvGrpSpPr>
          <p:cNvPr id="192" name="Ellipse 24"/>
          <p:cNvGrpSpPr/>
          <p:nvPr/>
        </p:nvGrpSpPr>
        <p:grpSpPr>
          <a:xfrm>
            <a:off x="9900000" y="1009749"/>
            <a:ext cx="864001" cy="864000"/>
            <a:chOff x="0" y="0"/>
            <a:chExt cx="2304000" cy="2073599"/>
          </a:xfrm>
        </p:grpSpPr>
        <p:sp>
          <p:nvSpPr>
            <p:cNvPr id="190" name="Oval"/>
            <p:cNvSpPr/>
            <p:nvPr/>
          </p:nvSpPr>
          <p:spPr>
            <a:xfrm>
              <a:off x="-1" y="0"/>
              <a:ext cx="2304002" cy="2073601"/>
            </a:xfrm>
            <a:prstGeom prst="ellipse">
              <a:avLst/>
            </a:prstGeom>
            <a:solidFill>
              <a:srgbClr val="FFDC00"/>
            </a:solidFill>
            <a:ln w="12700" cap="flat">
              <a:noFill/>
              <a:miter lim="400000"/>
            </a:ln>
            <a:effectLst/>
          </p:spPr>
          <p:txBody>
            <a:bodyPr wrap="square" lIns="109727" tIns="109727" rIns="109727" bIns="109727" numCol="1" anchor="ctr">
              <a:noAutofit/>
            </a:bodyPr>
            <a:lstStyle/>
            <a:p>
              <a:pPr defTabSz="641909">
                <a:defRPr sz="3200" b="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Metric Light"/>
                </a:defRPr>
              </a:pPr>
              <a:endParaRPr sz="1200"/>
            </a:p>
          </p:txBody>
        </p:sp>
        <p:sp>
          <p:nvSpPr>
            <p:cNvPr id="191" name="255/220/0"/>
            <p:cNvSpPr txBox="1"/>
            <p:nvPr/>
          </p:nvSpPr>
          <p:spPr>
            <a:xfrm>
              <a:off x="337413" y="303672"/>
              <a:ext cx="1629174" cy="1466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rmAutofit/>
            </a:bodyPr>
            <a:lstStyle>
              <a:lvl1pPr defTabSz="1711756">
                <a:defRPr sz="1800" b="0">
                  <a:latin typeface="+mj-lt"/>
                  <a:ea typeface="+mj-ea"/>
                  <a:cs typeface="+mj-cs"/>
                  <a:sym typeface="Metric Light"/>
                </a:defRPr>
              </a:lvl1pPr>
            </a:lstStyle>
            <a:p>
              <a:r>
                <a:rPr sz="675"/>
                <a:t>255/220/0</a:t>
              </a:r>
            </a:p>
          </p:txBody>
        </p:sp>
      </p:grpSp>
      <p:grpSp>
        <p:nvGrpSpPr>
          <p:cNvPr id="195" name="Ellipse 25"/>
          <p:cNvGrpSpPr/>
          <p:nvPr/>
        </p:nvGrpSpPr>
        <p:grpSpPr>
          <a:xfrm>
            <a:off x="9900000" y="78011"/>
            <a:ext cx="864001" cy="864000"/>
            <a:chOff x="0" y="0"/>
            <a:chExt cx="2304000" cy="2073599"/>
          </a:xfrm>
        </p:grpSpPr>
        <p:sp>
          <p:nvSpPr>
            <p:cNvPr id="193" name="Oval"/>
            <p:cNvSpPr/>
            <p:nvPr/>
          </p:nvSpPr>
          <p:spPr>
            <a:xfrm>
              <a:off x="-1" y="0"/>
              <a:ext cx="2304002" cy="2073601"/>
            </a:xfrm>
            <a:prstGeom prst="ellipse">
              <a:avLst/>
            </a:prstGeom>
            <a:solidFill>
              <a:srgbClr val="928D89"/>
            </a:solidFill>
            <a:ln w="12700" cap="flat">
              <a:noFill/>
              <a:miter lim="400000"/>
            </a:ln>
            <a:effectLst/>
          </p:spPr>
          <p:txBody>
            <a:bodyPr wrap="square" lIns="109727" tIns="109727" rIns="109727" bIns="109727" numCol="1" anchor="ctr">
              <a:noAutofit/>
            </a:bodyPr>
            <a:lstStyle/>
            <a:p>
              <a:pPr defTabSz="641909">
                <a:defRPr sz="3200" b="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Metric Light"/>
                </a:defRPr>
              </a:pPr>
              <a:endParaRPr sz="1200"/>
            </a:p>
          </p:txBody>
        </p:sp>
        <p:sp>
          <p:nvSpPr>
            <p:cNvPr id="194" name="146/131/137"/>
            <p:cNvSpPr txBox="1"/>
            <p:nvPr/>
          </p:nvSpPr>
          <p:spPr>
            <a:xfrm>
              <a:off x="337413" y="303672"/>
              <a:ext cx="1629174" cy="1466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rmAutofit/>
            </a:bodyPr>
            <a:lstStyle>
              <a:lvl1pPr defTabSz="1711756">
                <a:defRPr sz="1800" b="0">
                  <a:latin typeface="+mj-lt"/>
                  <a:ea typeface="+mj-ea"/>
                  <a:cs typeface="+mj-cs"/>
                  <a:sym typeface="Metric Light"/>
                </a:defRPr>
              </a:lvl1pPr>
            </a:lstStyle>
            <a:p>
              <a:r>
                <a:rPr sz="675"/>
                <a:t>146/131/137</a:t>
              </a:r>
            </a:p>
          </p:txBody>
        </p:sp>
      </p:grpSp>
      <p:grpSp>
        <p:nvGrpSpPr>
          <p:cNvPr id="198" name="Ellipse 26"/>
          <p:cNvGrpSpPr/>
          <p:nvPr/>
        </p:nvGrpSpPr>
        <p:grpSpPr>
          <a:xfrm>
            <a:off x="9900000" y="1941487"/>
            <a:ext cx="864001" cy="864000"/>
            <a:chOff x="0" y="0"/>
            <a:chExt cx="2304000" cy="2073599"/>
          </a:xfrm>
        </p:grpSpPr>
        <p:sp>
          <p:nvSpPr>
            <p:cNvPr id="196" name="Oval"/>
            <p:cNvSpPr/>
            <p:nvPr/>
          </p:nvSpPr>
          <p:spPr>
            <a:xfrm>
              <a:off x="-1" y="0"/>
              <a:ext cx="2304002" cy="2073601"/>
            </a:xfrm>
            <a:prstGeom prst="ellipse">
              <a:avLst/>
            </a:prstGeom>
            <a:solidFill>
              <a:srgbClr val="CBCCC4"/>
            </a:solidFill>
            <a:ln w="12700" cap="flat">
              <a:noFill/>
              <a:miter lim="400000"/>
            </a:ln>
            <a:effectLst/>
          </p:spPr>
          <p:txBody>
            <a:bodyPr wrap="square" lIns="109727" tIns="109727" rIns="109727" bIns="109727" numCol="1" anchor="ctr">
              <a:noAutofit/>
            </a:bodyPr>
            <a:lstStyle/>
            <a:p>
              <a:pPr defTabSz="641909">
                <a:defRPr sz="3200" b="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Metric Light"/>
                </a:defRPr>
              </a:pPr>
              <a:endParaRPr sz="1200"/>
            </a:p>
          </p:txBody>
        </p:sp>
        <p:sp>
          <p:nvSpPr>
            <p:cNvPr id="197" name="203/204/196"/>
            <p:cNvSpPr txBox="1"/>
            <p:nvPr/>
          </p:nvSpPr>
          <p:spPr>
            <a:xfrm>
              <a:off x="337413" y="303672"/>
              <a:ext cx="1629174" cy="1466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rmAutofit/>
            </a:bodyPr>
            <a:lstStyle>
              <a:lvl1pPr defTabSz="1711756">
                <a:defRPr sz="1800" b="0">
                  <a:latin typeface="+mj-lt"/>
                  <a:ea typeface="+mj-ea"/>
                  <a:cs typeface="+mj-cs"/>
                  <a:sym typeface="Metric Light"/>
                </a:defRPr>
              </a:lvl1pPr>
            </a:lstStyle>
            <a:p>
              <a:r>
                <a:rPr sz="675"/>
                <a:t>203/204/196</a:t>
              </a:r>
            </a:p>
          </p:txBody>
        </p:sp>
      </p:grpSp>
      <p:grpSp>
        <p:nvGrpSpPr>
          <p:cNvPr id="201" name="Ellipse 27"/>
          <p:cNvGrpSpPr/>
          <p:nvPr/>
        </p:nvGrpSpPr>
        <p:grpSpPr>
          <a:xfrm>
            <a:off x="9900000" y="2873225"/>
            <a:ext cx="864001" cy="864000"/>
            <a:chOff x="0" y="0"/>
            <a:chExt cx="2304000" cy="2073599"/>
          </a:xfrm>
        </p:grpSpPr>
        <p:sp>
          <p:nvSpPr>
            <p:cNvPr id="199" name="Oval"/>
            <p:cNvSpPr/>
            <p:nvPr/>
          </p:nvSpPr>
          <p:spPr>
            <a:xfrm>
              <a:off x="-1" y="0"/>
              <a:ext cx="2304002" cy="2073601"/>
            </a:xfrm>
            <a:prstGeom prst="ellipse">
              <a:avLst/>
            </a:prstGeom>
            <a:solidFill>
              <a:srgbClr val="00B6CA"/>
            </a:solidFill>
            <a:ln w="12700" cap="flat">
              <a:noFill/>
              <a:miter lim="400000"/>
            </a:ln>
            <a:effectLst/>
          </p:spPr>
          <p:txBody>
            <a:bodyPr wrap="square" lIns="109727" tIns="109727" rIns="109727" bIns="109727" numCol="1" anchor="ctr">
              <a:noAutofit/>
            </a:bodyPr>
            <a:lstStyle/>
            <a:p>
              <a:pPr defTabSz="641909">
                <a:defRPr sz="3200" b="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Metric Light"/>
                </a:defRPr>
              </a:pPr>
              <a:endParaRPr sz="1200"/>
            </a:p>
          </p:txBody>
        </p:sp>
        <p:sp>
          <p:nvSpPr>
            <p:cNvPr id="200" name="0/182/202"/>
            <p:cNvSpPr txBox="1"/>
            <p:nvPr/>
          </p:nvSpPr>
          <p:spPr>
            <a:xfrm>
              <a:off x="337413" y="303672"/>
              <a:ext cx="1629174" cy="1466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rmAutofit/>
            </a:bodyPr>
            <a:lstStyle>
              <a:lvl1pPr defTabSz="1711756">
                <a:defRPr sz="1800" b="0">
                  <a:latin typeface="+mj-lt"/>
                  <a:ea typeface="+mj-ea"/>
                  <a:cs typeface="+mj-cs"/>
                  <a:sym typeface="Metric Light"/>
                </a:defRPr>
              </a:lvl1pPr>
            </a:lstStyle>
            <a:p>
              <a:r>
                <a:rPr sz="675"/>
                <a:t>0/182/202</a:t>
              </a:r>
            </a:p>
          </p:txBody>
        </p:sp>
      </p:grpSp>
      <p:grpSp>
        <p:nvGrpSpPr>
          <p:cNvPr id="204" name="Ellipse 28"/>
          <p:cNvGrpSpPr/>
          <p:nvPr/>
        </p:nvGrpSpPr>
        <p:grpSpPr>
          <a:xfrm>
            <a:off x="9900000" y="3804962"/>
            <a:ext cx="864001" cy="864000"/>
            <a:chOff x="0" y="0"/>
            <a:chExt cx="2304000" cy="2073599"/>
          </a:xfrm>
        </p:grpSpPr>
        <p:sp>
          <p:nvSpPr>
            <p:cNvPr id="202" name="Oval"/>
            <p:cNvSpPr/>
            <p:nvPr/>
          </p:nvSpPr>
          <p:spPr>
            <a:xfrm>
              <a:off x="-1" y="0"/>
              <a:ext cx="2304002" cy="2073601"/>
            </a:xfrm>
            <a:prstGeom prst="ellipse">
              <a:avLst/>
            </a:prstGeom>
            <a:solidFill>
              <a:srgbClr val="F41C50"/>
            </a:solidFill>
            <a:ln w="12700" cap="flat">
              <a:noFill/>
              <a:miter lim="400000"/>
            </a:ln>
            <a:effectLst/>
          </p:spPr>
          <p:txBody>
            <a:bodyPr wrap="square" lIns="109727" tIns="109727" rIns="109727" bIns="109727" numCol="1" anchor="ctr">
              <a:noAutofit/>
            </a:bodyPr>
            <a:lstStyle/>
            <a:p>
              <a:pPr defTabSz="641909">
                <a:defRPr sz="3200" b="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Metric Light"/>
                </a:defRPr>
              </a:pPr>
              <a:endParaRPr sz="1200"/>
            </a:p>
          </p:txBody>
        </p:sp>
        <p:sp>
          <p:nvSpPr>
            <p:cNvPr id="203" name="244/28/80"/>
            <p:cNvSpPr txBox="1"/>
            <p:nvPr/>
          </p:nvSpPr>
          <p:spPr>
            <a:xfrm>
              <a:off x="337413" y="303672"/>
              <a:ext cx="1629174" cy="1466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rmAutofit/>
            </a:bodyPr>
            <a:lstStyle>
              <a:lvl1pPr defTabSz="1711756">
                <a:defRPr sz="1800" b="0">
                  <a:latin typeface="+mj-lt"/>
                  <a:ea typeface="+mj-ea"/>
                  <a:cs typeface="+mj-cs"/>
                  <a:sym typeface="Metric Light"/>
                </a:defRPr>
              </a:lvl1pPr>
            </a:lstStyle>
            <a:p>
              <a:r>
                <a:rPr sz="675"/>
                <a:t>244/28/80</a:t>
              </a:r>
            </a:p>
          </p:txBody>
        </p:sp>
      </p:grpSp>
      <p:grpSp>
        <p:nvGrpSpPr>
          <p:cNvPr id="207" name="Ellipse 29"/>
          <p:cNvGrpSpPr/>
          <p:nvPr/>
        </p:nvGrpSpPr>
        <p:grpSpPr>
          <a:xfrm>
            <a:off x="9900000" y="4736700"/>
            <a:ext cx="864001" cy="864000"/>
            <a:chOff x="0" y="0"/>
            <a:chExt cx="2304000" cy="2073599"/>
          </a:xfrm>
        </p:grpSpPr>
        <p:sp>
          <p:nvSpPr>
            <p:cNvPr id="205" name="Oval"/>
            <p:cNvSpPr/>
            <p:nvPr/>
          </p:nvSpPr>
          <p:spPr>
            <a:xfrm>
              <a:off x="-1" y="0"/>
              <a:ext cx="2304002" cy="2073601"/>
            </a:xfrm>
            <a:prstGeom prst="ellipse">
              <a:avLst/>
            </a:prstGeom>
            <a:solidFill>
              <a:srgbClr val="A0025A"/>
            </a:solidFill>
            <a:ln w="12700" cap="flat">
              <a:noFill/>
              <a:miter lim="400000"/>
            </a:ln>
            <a:effectLst/>
          </p:spPr>
          <p:txBody>
            <a:bodyPr wrap="square" lIns="109727" tIns="109727" rIns="109727" bIns="109727" numCol="1" anchor="ctr">
              <a:noAutofit/>
            </a:bodyPr>
            <a:lstStyle/>
            <a:p>
              <a:pPr defTabSz="641909">
                <a:defRPr sz="3200" b="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Metric Light"/>
                </a:defRPr>
              </a:pPr>
              <a:endParaRPr sz="1200"/>
            </a:p>
          </p:txBody>
        </p:sp>
        <p:sp>
          <p:nvSpPr>
            <p:cNvPr id="206" name="160/2/90"/>
            <p:cNvSpPr txBox="1"/>
            <p:nvPr/>
          </p:nvSpPr>
          <p:spPr>
            <a:xfrm>
              <a:off x="337413" y="303672"/>
              <a:ext cx="1629174" cy="1466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rmAutofit/>
            </a:bodyPr>
            <a:lstStyle>
              <a:lvl1pPr defTabSz="1711756">
                <a:defRPr sz="1800" b="0">
                  <a:latin typeface="+mj-lt"/>
                  <a:ea typeface="+mj-ea"/>
                  <a:cs typeface="+mj-cs"/>
                  <a:sym typeface="Metric Light"/>
                </a:defRPr>
              </a:lvl1pPr>
            </a:lstStyle>
            <a:p>
              <a:r>
                <a:rPr sz="675"/>
                <a:t>160/2/90</a:t>
              </a:r>
            </a:p>
          </p:txBody>
        </p:sp>
      </p:grpSp>
      <p:sp>
        <p:nvSpPr>
          <p:cNvPr id="208" name="Plassholder for tekst 16"/>
          <p:cNvSpPr>
            <a:spLocks noGrp="1"/>
          </p:cNvSpPr>
          <p:nvPr>
            <p:ph type="body" sz="quarter" idx="13"/>
          </p:nvPr>
        </p:nvSpPr>
        <p:spPr>
          <a:xfrm>
            <a:off x="6038062" y="1398334"/>
            <a:ext cx="2655937" cy="16927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 defTabSz="685793">
              <a:spcBef>
                <a:spcPts val="713"/>
              </a:spcBef>
              <a:buSzTx/>
              <a:buNone/>
              <a:defRPr sz="2600" cap="all">
                <a:latin typeface="Metric Semibold"/>
                <a:sym typeface="Metric Semibold"/>
              </a:defRPr>
            </a:lvl1pPr>
          </a:lstStyle>
          <a:p>
            <a:pPr marL="0" indent="0" algn="ctr" defTabSz="1828780">
              <a:spcBef>
                <a:spcPts val="1900"/>
              </a:spcBef>
              <a:buSzTx/>
              <a:buNone/>
              <a:defRPr sz="2600" cap="all">
                <a:latin typeface="Metric Semibold"/>
                <a:ea typeface="Metric Semibold"/>
                <a:cs typeface="Metric Semibold"/>
                <a:sym typeface="Metric Semibold"/>
              </a:defRPr>
            </a:pPr>
            <a:endParaRPr/>
          </a:p>
        </p:txBody>
      </p:sp>
      <p:sp>
        <p:nvSpPr>
          <p:cNvPr id="209" name="Plassholder for tekst 16"/>
          <p:cNvSpPr>
            <a:spLocks noGrp="1"/>
          </p:cNvSpPr>
          <p:nvPr>
            <p:ph type="body" sz="quarter" idx="14"/>
          </p:nvPr>
        </p:nvSpPr>
        <p:spPr>
          <a:xfrm>
            <a:off x="482402" y="1398332"/>
            <a:ext cx="2651030" cy="17933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 defTabSz="685793">
              <a:spcBef>
                <a:spcPts val="713"/>
              </a:spcBef>
              <a:buSzTx/>
              <a:buNone/>
              <a:defRPr sz="2600" cap="all">
                <a:latin typeface="Metric Semibold"/>
                <a:sym typeface="Metric Semibold"/>
              </a:defRPr>
            </a:lvl1pPr>
          </a:lstStyle>
          <a:p>
            <a:pPr marL="0" indent="0" algn="ctr" defTabSz="1828780">
              <a:spcBef>
                <a:spcPts val="1900"/>
              </a:spcBef>
              <a:buSzTx/>
              <a:buNone/>
              <a:defRPr sz="2600" cap="all">
                <a:latin typeface="Metric Semibold"/>
                <a:ea typeface="Metric Semibold"/>
                <a:cs typeface="Metric Semibold"/>
                <a:sym typeface="Metric Semibold"/>
              </a:defRPr>
            </a:pPr>
            <a:endParaRPr/>
          </a:p>
        </p:txBody>
      </p:sp>
      <p:sp>
        <p:nvSpPr>
          <p:cNvPr id="210" name="Plassholder for tekst 16"/>
          <p:cNvSpPr>
            <a:spLocks noGrp="1"/>
          </p:cNvSpPr>
          <p:nvPr>
            <p:ph type="body" sz="quarter" idx="15"/>
          </p:nvPr>
        </p:nvSpPr>
        <p:spPr>
          <a:xfrm>
            <a:off x="3258286" y="1398334"/>
            <a:ext cx="2655937" cy="16927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 defTabSz="685793">
              <a:spcBef>
                <a:spcPts val="713"/>
              </a:spcBef>
              <a:buSzTx/>
              <a:buNone/>
              <a:defRPr sz="2600" cap="all">
                <a:latin typeface="Metric Semibold"/>
                <a:sym typeface="Metric Semibold"/>
              </a:defRPr>
            </a:lvl1pPr>
          </a:lstStyle>
          <a:p>
            <a:pPr marL="0" indent="0" algn="ctr" defTabSz="1828780">
              <a:spcBef>
                <a:spcPts val="1900"/>
              </a:spcBef>
              <a:buSzTx/>
              <a:buNone/>
              <a:defRPr sz="2600" cap="all">
                <a:latin typeface="Metric Semibold"/>
                <a:ea typeface="Metric Semibold"/>
                <a:cs typeface="Metric Semibold"/>
                <a:sym typeface="Metric Semibold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17326459"/>
      </p:ext>
    </p:extLst>
  </p:cSld>
  <p:clrMapOvr>
    <a:masterClrMapping/>
  </p:clrMapOvr>
  <p:transition spd="med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177" y="5816963"/>
            <a:ext cx="44884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Page </a:t>
            </a:r>
            <a:fld id="{C73A977F-1452-4597-9E9D-AEC002F918F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19127560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73A977F-1452-4597-9E9D-AEC002F918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444243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82400" y="1400999"/>
            <a:ext cx="82115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182634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73A977F-1452-4597-9E9D-AEC002F918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928459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0" y="781568"/>
            <a:ext cx="3988801" cy="3231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78"/>
            <a:ext cx="3988800" cy="33021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5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1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/>
              <a:t>Private &amp; Confidential</a:t>
            </a: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73A977F-1452-4597-9E9D-AEC002F918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>
            <a:off x="-216000" y="162487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>
            <a:endCxn id="40" idx="3"/>
          </p:cNvCxnSpPr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>
            <a:off x="-215999" y="110473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274181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-215999" y="32710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0" y="1085812"/>
            <a:ext cx="3772799" cy="165600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199" y="3271011"/>
            <a:ext cx="3772799" cy="165600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04973094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5181351"/>
            <a:ext cx="548700" cy="437333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 bwMode="auto">
          <a:xfrm>
            <a:off x="548640" y="1097280"/>
            <a:ext cx="2651760" cy="26728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800" kern="0" dirty="0"/>
              <a:t>d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64188" y="926748"/>
            <a:ext cx="8229800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463542" y="889621"/>
            <a:ext cx="8216916" cy="42133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indent="-177800" algn="ctr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4188" y="5183765"/>
            <a:ext cx="8229800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 bwMode="auto">
          <a:xfrm>
            <a:off x="7145820" y="211140"/>
            <a:ext cx="898014" cy="21437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800" b="1" kern="0" dirty="0"/>
              <a:t>Impact </a:t>
            </a:r>
          </a:p>
        </p:txBody>
      </p:sp>
      <p:sp>
        <p:nvSpPr>
          <p:cNvPr id="17" name="TextBox 16"/>
          <p:cNvSpPr txBox="1"/>
          <p:nvPr userDrawn="1"/>
        </p:nvSpPr>
        <p:spPr bwMode="auto">
          <a:xfrm>
            <a:off x="7145820" y="513404"/>
            <a:ext cx="988373" cy="21437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800" b="1" kern="0" dirty="0"/>
              <a:t>Prioritization 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580308" y="1340998"/>
            <a:ext cx="2520128" cy="1089771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-177800" algn="ctr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580308" y="2766442"/>
            <a:ext cx="2520128" cy="74273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-177800" algn="ctr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580308" y="3836013"/>
            <a:ext cx="2520128" cy="1266928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-177800" algn="ctr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24" name="TextBox 23"/>
          <p:cNvSpPr txBox="1"/>
          <p:nvPr userDrawn="1"/>
        </p:nvSpPr>
        <p:spPr bwMode="auto">
          <a:xfrm>
            <a:off x="529293" y="1112376"/>
            <a:ext cx="2571143" cy="1875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900" b="1" kern="0" dirty="0"/>
              <a:t>Objective for initiative </a:t>
            </a:r>
          </a:p>
        </p:txBody>
      </p:sp>
      <p:sp>
        <p:nvSpPr>
          <p:cNvPr id="25" name="TextBox 24"/>
          <p:cNvSpPr txBox="1"/>
          <p:nvPr userDrawn="1"/>
        </p:nvSpPr>
        <p:spPr bwMode="auto">
          <a:xfrm>
            <a:off x="529293" y="2552568"/>
            <a:ext cx="2230057" cy="1875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900" b="1" kern="0" dirty="0"/>
              <a:t>Initiative lead and participants </a:t>
            </a:r>
          </a:p>
        </p:txBody>
      </p:sp>
      <p:sp>
        <p:nvSpPr>
          <p:cNvPr id="26" name="TextBox 25"/>
          <p:cNvSpPr txBox="1"/>
          <p:nvPr userDrawn="1"/>
        </p:nvSpPr>
        <p:spPr bwMode="auto">
          <a:xfrm>
            <a:off x="529293" y="3590003"/>
            <a:ext cx="2230057" cy="1875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900" b="1" kern="0" dirty="0"/>
              <a:t>Key</a:t>
            </a:r>
            <a:r>
              <a:rPr lang="en-US" sz="900" b="1" kern="0" baseline="0" dirty="0"/>
              <a:t> dependencies </a:t>
            </a:r>
            <a:endParaRPr lang="en-US" sz="900" b="1" kern="0" dirty="0"/>
          </a:p>
        </p:txBody>
      </p:sp>
      <p:sp>
        <p:nvSpPr>
          <p:cNvPr id="27" name="TextBox 26"/>
          <p:cNvSpPr txBox="1"/>
          <p:nvPr userDrawn="1"/>
        </p:nvSpPr>
        <p:spPr bwMode="auto">
          <a:xfrm>
            <a:off x="3230965" y="3590003"/>
            <a:ext cx="2586287" cy="1875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900" b="1" kern="0" dirty="0"/>
              <a:t>High-level implementation plan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3271968" y="1340998"/>
            <a:ext cx="2510824" cy="2168181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-177800" algn="ctr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29" name="TextBox 28"/>
          <p:cNvSpPr txBox="1"/>
          <p:nvPr userDrawn="1"/>
        </p:nvSpPr>
        <p:spPr bwMode="auto">
          <a:xfrm>
            <a:off x="3230965" y="1112376"/>
            <a:ext cx="2571143" cy="1875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900" b="1" kern="0" dirty="0"/>
              <a:t>Key steps to deliver ambition </a:t>
            </a:r>
          </a:p>
        </p:txBody>
      </p:sp>
      <p:sp>
        <p:nvSpPr>
          <p:cNvPr id="30" name="TextBox 29"/>
          <p:cNvSpPr txBox="1"/>
          <p:nvPr userDrawn="1"/>
        </p:nvSpPr>
        <p:spPr bwMode="auto">
          <a:xfrm>
            <a:off x="6172827" y="1112376"/>
            <a:ext cx="2571143" cy="18756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rtlCol="0" anchor="t">
            <a:noAutofit/>
          </a:bodyPr>
          <a:lstStyle/>
          <a:p>
            <a:r>
              <a:rPr lang="en-US" sz="900" b="1" kern="0" dirty="0"/>
              <a:t>Financial impact 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5954324" y="1340999"/>
            <a:ext cx="2643986" cy="216818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-177800" algn="ctr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6049107" y="1511709"/>
            <a:ext cx="815927" cy="50144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Tx/>
              <a:buNone/>
            </a:pPr>
            <a:r>
              <a:rPr lang="en-US" sz="800" b="0" dirty="0"/>
              <a:t>Performanc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6049107" y="2113794"/>
            <a:ext cx="815927" cy="74370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Tx/>
              <a:buNone/>
            </a:pPr>
            <a:r>
              <a:rPr lang="en-US" sz="800" b="0" dirty="0" err="1"/>
              <a:t>Opex</a:t>
            </a:r>
            <a:endParaRPr lang="en-US" sz="800" b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6049107" y="2998179"/>
            <a:ext cx="815927" cy="41264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Tx/>
              <a:buNone/>
            </a:pPr>
            <a:r>
              <a:rPr lang="en-US" sz="800" b="0" dirty="0"/>
              <a:t>Capex 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970542" y="2057398"/>
            <a:ext cx="151598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6970542" y="2974399"/>
            <a:ext cx="151598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7111220" y="292568"/>
            <a:ext cx="0" cy="3747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77274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827305"/>
            <a:ext cx="8520600" cy="2280667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 lang="en-US" dirty="0"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3149028"/>
            <a:ext cx="8520600" cy="880667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 lang="en-US" dirty="0"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5181351"/>
            <a:ext cx="548700" cy="437333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grayscl/>
          </a:blip>
          <a:stretch>
            <a:fillRect/>
          </a:stretch>
        </p:blipFill>
        <p:spPr>
          <a:xfrm>
            <a:off x="0" y="0"/>
            <a:ext cx="9144000" cy="5618684"/>
          </a:xfrm>
          <a:prstGeom prst="rect">
            <a:avLst/>
          </a:prstGeom>
        </p:spPr>
      </p:pic>
      <p:pic>
        <p:nvPicPr>
          <p:cNvPr id="7" name="Bilde 9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038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bg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913284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ground 3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6708536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&amp;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C73A977F-1452-4597-9E9D-AEC002F918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27081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7882"/>
            <a:ext cx="8229600" cy="39872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061810" y="5325849"/>
            <a:ext cx="528991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fld id="{E6472A54-E5C4-4117-AA7A-BA9EEF9678DD}" type="datetimeFigureOut">
              <a:rPr lang="nb-NO" smtClean="0">
                <a:solidFill>
                  <a:prstClr val="black"/>
                </a:solidFill>
              </a:rPr>
              <a:pPr/>
              <a:t>11.10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2" y="5325849"/>
            <a:ext cx="2895600" cy="153888"/>
          </a:xfrm>
          <a:prstGeom prst="rect">
            <a:avLst/>
          </a:prstGeom>
        </p:spPr>
        <p:txBody>
          <a:bodyPr anchor="ctr"/>
          <a:lstStyle>
            <a:lvl1pPr>
              <a:defRPr sz="1000">
                <a:latin typeface="Metric Regular" pitchFamily="34" charset="0"/>
              </a:defRPr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5325849"/>
            <a:ext cx="128240" cy="153888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latin typeface="Metric Regular" pitchFamily="34" charset="0"/>
              </a:defRPr>
            </a:lvl1pPr>
          </a:lstStyle>
          <a:p>
            <a:fld id="{71F00C8B-5560-470D-85B4-242E76DCA73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96094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20000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err="1"/>
              <a:t>chapter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1" name="Ellipse 10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28826451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ree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0"/>
            <a:ext cx="9143999" cy="5715000"/>
          </a:xfrm>
          <a:prstGeom prst="rect">
            <a:avLst/>
          </a:prstGeom>
        </p:spPr>
      </p:pic>
      <p:sp>
        <p:nvSpPr>
          <p:cNvPr id="13" name="Plassholder for tekst 7"/>
          <p:cNvSpPr>
            <a:spLocks noGrp="1" noChangeAspect="1"/>
          </p:cNvSpPr>
          <p:nvPr>
            <p:ph type="body" sz="quarter" idx="16"/>
          </p:nvPr>
        </p:nvSpPr>
        <p:spPr>
          <a:xfrm>
            <a:off x="450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8" name="Plassholder for tekst 7"/>
          <p:cNvSpPr>
            <a:spLocks noGrp="1" noChangeAspect="1"/>
          </p:cNvSpPr>
          <p:nvPr>
            <p:ph type="body" sz="quarter" idx="17"/>
          </p:nvPr>
        </p:nvSpPr>
        <p:spPr>
          <a:xfrm>
            <a:off x="6498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9" name="Plassholder for tekst 7"/>
          <p:cNvSpPr>
            <a:spLocks noGrp="1" noChangeAspect="1"/>
          </p:cNvSpPr>
          <p:nvPr>
            <p:ph type="body" sz="quarter" idx="18"/>
          </p:nvPr>
        </p:nvSpPr>
        <p:spPr>
          <a:xfrm>
            <a:off x="3474000" y="1759500"/>
            <a:ext cx="2196000" cy="2196000"/>
          </a:xfrm>
          <a:blipFill>
            <a:blip r:embed="rId3"/>
            <a:stretch>
              <a:fillRect/>
            </a:stretch>
          </a:blipFill>
        </p:spPr>
        <p:txBody>
          <a:bodyPr lIns="71986" tIns="71986" rIns="71986" bIns="71986" anchor="ctr" anchorCtr="1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2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0" indent="0" algn="ctr">
              <a:buFont typeface="Arial" panose="020B0604020202020204" pitchFamily="34" charset="0"/>
              <a:buChar char="​"/>
              <a:defRPr sz="1300" cap="all"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9"/>
          </p:nvPr>
        </p:nvSpPr>
        <p:spPr>
          <a:xfrm>
            <a:off x="450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7" name="Plassholder for tekst 15"/>
          <p:cNvSpPr>
            <a:spLocks noGrp="1"/>
          </p:cNvSpPr>
          <p:nvPr>
            <p:ph type="body" sz="quarter" idx="20"/>
          </p:nvPr>
        </p:nvSpPr>
        <p:spPr>
          <a:xfrm>
            <a:off x="3473999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/>
          </p:nvPr>
        </p:nvSpPr>
        <p:spPr>
          <a:xfrm>
            <a:off x="6498000" y="4435146"/>
            <a:ext cx="2196000" cy="400110"/>
          </a:xfrm>
        </p:spPr>
        <p:txBody>
          <a:bodyPr wrap="square">
            <a:normAutofit/>
          </a:bodyPr>
          <a:lstStyle>
            <a:lvl1pPr marL="0" indent="0" algn="ctr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pic>
        <p:nvPicPr>
          <p:cNvPr id="25" name="Bilde 2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6" name="Plassholder for dato 5"/>
          <p:cNvSpPr>
            <a:spLocks noGrp="1"/>
          </p:cNvSpPr>
          <p:nvPr>
            <p:ph type="dt" sz="half" idx="22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9556895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20000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52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13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15" name="Bil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71500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16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6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08610" indent="0" algn="ctr">
              <a:buNone/>
              <a:defRPr sz="1350"/>
            </a:lvl2pPr>
            <a:lvl3pPr marL="617220" indent="0" algn="ctr">
              <a:buNone/>
              <a:defRPr sz="1215"/>
            </a:lvl3pPr>
            <a:lvl4pPr marL="925830" indent="0" algn="ctr">
              <a:buNone/>
              <a:defRPr sz="1080"/>
            </a:lvl4pPr>
            <a:lvl5pPr marL="1234440" indent="0" algn="ctr">
              <a:buNone/>
              <a:defRPr sz="1080"/>
            </a:lvl5pPr>
            <a:lvl6pPr marL="1543050" indent="0" algn="ctr">
              <a:buNone/>
              <a:defRPr sz="1080"/>
            </a:lvl6pPr>
            <a:lvl7pPr marL="1851660" indent="0" algn="ctr">
              <a:buNone/>
              <a:defRPr sz="1080"/>
            </a:lvl7pPr>
            <a:lvl8pPr marL="2160270" indent="0" algn="ctr">
              <a:buNone/>
              <a:defRPr sz="1080"/>
            </a:lvl8pPr>
            <a:lvl9pPr marL="2468880" indent="0" algn="ctr">
              <a:buNone/>
              <a:defRPr sz="108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7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44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13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17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84630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350"/>
              </a:spcAft>
              <a:buNone/>
              <a:defRPr sz="18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91" y="937452"/>
            <a:ext cx="1395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41909"/>
            <a:r>
              <a:rPr lang="nb-NO" sz="18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13"/>
            <a:ext cx="43282" cy="65"/>
          </a:xfrm>
        </p:spPr>
        <p:txBody>
          <a:bodyPr/>
          <a:lstStyle>
            <a:lvl1pPr>
              <a:lnSpc>
                <a:spcPts val="9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16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62270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2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52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25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440" cap="all" baseline="0">
                <a:solidFill>
                  <a:schemeClr val="tx1"/>
                </a:solidFill>
                <a:latin typeface="+mn-lt"/>
              </a:defRPr>
            </a:lvl1pPr>
            <a:lvl2pPr marL="30861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17220" indent="0">
              <a:buNone/>
              <a:defRPr sz="1215">
                <a:solidFill>
                  <a:schemeClr val="tx1">
                    <a:tint val="75000"/>
                  </a:schemeClr>
                </a:solidFill>
              </a:defRPr>
            </a:lvl3pPr>
            <a:lvl4pPr marL="92583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4pPr>
            <a:lvl5pPr marL="123444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5pPr>
            <a:lvl6pPr marL="154305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6pPr>
            <a:lvl7pPr marL="185166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7pPr>
            <a:lvl8pPr marL="216027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8pPr>
            <a:lvl9pPr marL="2468880" indent="0">
              <a:buNone/>
              <a:defRPr sz="10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5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0837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5" y="501651"/>
            <a:ext cx="6696837" cy="656718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5" y="1692214"/>
            <a:ext cx="6696837" cy="3526013"/>
          </a:xfrm>
        </p:spPr>
        <p:txBody>
          <a:bodyPr/>
          <a:lstStyle>
            <a:lvl1pPr>
              <a:defRPr sz="1440"/>
            </a:lvl1pPr>
            <a:lvl2pPr>
              <a:defRPr sz="1260"/>
            </a:lvl2pPr>
            <a:lvl3pPr>
              <a:defRPr sz="990"/>
            </a:lvl3pPr>
            <a:lvl4pPr>
              <a:defRPr sz="990"/>
            </a:lvl4pPr>
            <a:lvl5pPr>
              <a:defRPr sz="99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895871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5" name="Object 6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400408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400407"/>
            <a:ext cx="3959412" cy="352661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64" name="Text Placeholder 63"/>
          <p:cNvSpPr>
            <a:spLocks noGrp="1"/>
          </p:cNvSpPr>
          <p:nvPr>
            <p:ph type="body" sz="quarter" idx="28" hasCustomPrompt="1"/>
          </p:nvPr>
        </p:nvSpPr>
        <p:spPr>
          <a:xfrm>
            <a:off x="482601" y="5065777"/>
            <a:ext cx="8212138" cy="311087"/>
          </a:xfrm>
        </p:spPr>
        <p:txBody>
          <a:bodyPr anchor="b">
            <a:noAutofit/>
          </a:bodyPr>
          <a:lstStyle>
            <a:lvl1pPr marL="238602" indent="-238602">
              <a:buNone/>
              <a:defRPr sz="720"/>
            </a:lvl1pPr>
            <a:lvl2pPr marL="356400" indent="0">
              <a:buNone/>
              <a:defRPr sz="720"/>
            </a:lvl2pPr>
            <a:lvl3pPr marL="550800" indent="0">
              <a:buNone/>
              <a:defRPr sz="720"/>
            </a:lvl3pPr>
            <a:lvl4pPr marL="745200" indent="0">
              <a:buNone/>
              <a:defRPr sz="720"/>
            </a:lvl4pPr>
            <a:lvl5pPr marL="939600" indent="0">
              <a:buNone/>
              <a:defRPr sz="720"/>
            </a:lvl5pPr>
          </a:lstStyle>
          <a:p>
            <a:pPr lvl="0"/>
            <a:r>
              <a:rPr lang="en-US" dirty="0"/>
              <a:t>Not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9788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86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1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122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133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144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155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166" indent="-231122" defTabSz="273386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725533754"/>
      </p:ext>
    </p:extLst>
  </p:cSld>
  <p:clrMapOvr>
    <a:masterClrMapping/>
  </p:clrMapOvr>
  <p:transition spd="med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3959412" cy="33787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4734588" y="1684232"/>
            <a:ext cx="3959412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66212" y="734549"/>
            <a:ext cx="8211600" cy="657434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734588" y="1398333"/>
            <a:ext cx="3959412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0" y="1398332"/>
            <a:ext cx="3952096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2179270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2655936" cy="33787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6038063" y="1684232"/>
            <a:ext cx="2655936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6038063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3" y="1398332"/>
            <a:ext cx="2651029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35" name="Plassholder for innhold 2"/>
          <p:cNvSpPr>
            <a:spLocks noGrp="1"/>
          </p:cNvSpPr>
          <p:nvPr>
            <p:ph idx="29"/>
          </p:nvPr>
        </p:nvSpPr>
        <p:spPr>
          <a:xfrm>
            <a:off x="3258287" y="1684232"/>
            <a:ext cx="2655936" cy="3378699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6" name="Plassholder for tekst 16"/>
          <p:cNvSpPr>
            <a:spLocks noGrp="1"/>
          </p:cNvSpPr>
          <p:nvPr>
            <p:ph type="body" sz="quarter" idx="30"/>
          </p:nvPr>
        </p:nvSpPr>
        <p:spPr>
          <a:xfrm>
            <a:off x="3258287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141461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innhold 2"/>
          <p:cNvSpPr>
            <a:spLocks noGrp="1"/>
          </p:cNvSpPr>
          <p:nvPr>
            <p:ph idx="26"/>
          </p:nvPr>
        </p:nvSpPr>
        <p:spPr>
          <a:xfrm>
            <a:off x="482401" y="1684226"/>
            <a:ext cx="2655936" cy="238361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7"/>
          </p:nvPr>
        </p:nvSpPr>
        <p:spPr>
          <a:xfrm>
            <a:off x="6038063" y="1684227"/>
            <a:ext cx="2655936" cy="2383608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</p:spPr>
        <p:txBody>
          <a:bodyPr anchor="ctr"/>
          <a:lstStyle/>
          <a:p>
            <a:r>
              <a:rPr lang="nb-NO" dirty="0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6038063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Plassholder for tekst 16"/>
          <p:cNvSpPr>
            <a:spLocks noGrp="1"/>
          </p:cNvSpPr>
          <p:nvPr>
            <p:ph type="body" sz="quarter" idx="28"/>
          </p:nvPr>
        </p:nvSpPr>
        <p:spPr>
          <a:xfrm>
            <a:off x="482403" y="1398332"/>
            <a:ext cx="2651029" cy="179334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35" name="Plassholder for innhold 2"/>
          <p:cNvSpPr>
            <a:spLocks noGrp="1"/>
          </p:cNvSpPr>
          <p:nvPr>
            <p:ph idx="29"/>
          </p:nvPr>
        </p:nvSpPr>
        <p:spPr>
          <a:xfrm>
            <a:off x="3258287" y="1684227"/>
            <a:ext cx="2655936" cy="2383608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6" name="Plassholder for tekst 16"/>
          <p:cNvSpPr>
            <a:spLocks noGrp="1"/>
          </p:cNvSpPr>
          <p:nvPr>
            <p:ph type="body" sz="quarter" idx="30"/>
          </p:nvPr>
        </p:nvSpPr>
        <p:spPr>
          <a:xfrm>
            <a:off x="3258287" y="1398333"/>
            <a:ext cx="2655936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Plassholder for innhold 2"/>
          <p:cNvSpPr>
            <a:spLocks noGrp="1"/>
          </p:cNvSpPr>
          <p:nvPr>
            <p:ph idx="31"/>
          </p:nvPr>
        </p:nvSpPr>
        <p:spPr>
          <a:xfrm>
            <a:off x="482401" y="4131847"/>
            <a:ext cx="2655936" cy="94399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4" name="Plassholder for innhold 2"/>
          <p:cNvSpPr>
            <a:spLocks noGrp="1"/>
          </p:cNvSpPr>
          <p:nvPr>
            <p:ph idx="32"/>
          </p:nvPr>
        </p:nvSpPr>
        <p:spPr>
          <a:xfrm>
            <a:off x="6038063" y="4131852"/>
            <a:ext cx="2655936" cy="94399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7" name="Plassholder for innhold 2"/>
          <p:cNvSpPr>
            <a:spLocks noGrp="1"/>
          </p:cNvSpPr>
          <p:nvPr>
            <p:ph idx="33"/>
          </p:nvPr>
        </p:nvSpPr>
        <p:spPr>
          <a:xfrm>
            <a:off x="3258287" y="4131852"/>
            <a:ext cx="2655936" cy="943991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9493809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39833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38485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39833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384853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 cap="all" baseline="0">
                <a:latin typeface="+mj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485775" y="501650"/>
            <a:ext cx="8172450" cy="659983"/>
          </a:xfrm>
        </p:spPr>
        <p:txBody>
          <a:bodyPr anchor="ctr" anchorCtr="0">
            <a:noAutofit/>
          </a:bodyPr>
          <a:lstStyle>
            <a:lvl1pPr algn="ctr">
              <a:defRPr sz="189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 rot="16200000">
            <a:off x="-126000" y="160938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4966978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6000" y="3503623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6000" y="2959887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629807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612762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612762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635272"/>
            <a:ext cx="3772800" cy="1490134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23111029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5" y="1943402"/>
            <a:ext cx="3888705" cy="307777"/>
          </a:xfrm>
        </p:spPr>
        <p:txBody>
          <a:bodyPr>
            <a:noAutofit/>
          </a:bodyPr>
          <a:lstStyle>
            <a:lvl1pPr algn="l">
              <a:defRPr sz="1890">
                <a:latin typeface="+mn-lt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5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2167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 rot="16200000">
            <a:off x="-126000" y="1160024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34705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0868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 rot="16200000">
            <a:off x="-126000" y="34157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 rot="16200000">
            <a:off x="-126000" y="235350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74951966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7" y="837171"/>
            <a:ext cx="3988801" cy="323165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80482"/>
            <a:ext cx="3988800" cy="330213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9706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87720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990">
                <a:latin typeface="+mj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20381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170">
                <a:latin typeface="+mj-lt"/>
              </a:defRPr>
            </a:lvl1pPr>
            <a:lvl2pPr>
              <a:defRPr sz="1170">
                <a:latin typeface="+mj-lt"/>
              </a:defRPr>
            </a:lvl2pPr>
            <a:lvl3pPr>
              <a:defRPr sz="1170">
                <a:latin typeface="+mj-lt"/>
              </a:defRPr>
            </a:lvl3pPr>
            <a:lvl4pPr>
              <a:defRPr sz="1170">
                <a:latin typeface="+mj-lt"/>
              </a:defRPr>
            </a:lvl4pPr>
            <a:lvl5pPr>
              <a:defRPr sz="1170">
                <a:latin typeface="+mj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 rot="16200000">
            <a:off x="-126000" y="1534878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 rot="16200000">
            <a:off x="-126000" y="1014733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 rot="16200000">
            <a:off x="-126000" y="2609816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 rot="16200000">
            <a:off x="-126000" y="31810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3" y="1141414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203" y="3326613"/>
            <a:ext cx="3772799" cy="1656002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5729271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97186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1"/>
            <a:ext cx="6696837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>
              <a:defRPr/>
            </a:pPr>
            <a:r>
              <a:rPr lang="nb-NO" sz="72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72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60221103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2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3"/>
            <a:ext cx="6696837" cy="3526013"/>
          </a:xfrm>
        </p:spPr>
        <p:txBody>
          <a:bodyPr/>
          <a:lstStyle>
            <a:lvl1pPr>
              <a:defRPr sz="1377"/>
            </a:lvl1pPr>
            <a:lvl2pPr>
              <a:defRPr sz="1215"/>
            </a:lvl2pPr>
            <a:lvl3pPr>
              <a:defRPr sz="972"/>
            </a:lvl3pPr>
            <a:lvl4pPr>
              <a:defRPr sz="972"/>
            </a:lvl4pPr>
            <a:lvl5pPr>
              <a:defRPr sz="972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17205">
              <a:defRPr/>
            </a:pPr>
            <a:r>
              <a:rPr lang="nb-NO" sz="689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641909"/>
            <a:r>
              <a:rPr lang="nb-NO" sz="689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34745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2867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84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90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nb-NO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5451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153760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9146308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bg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3733344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05253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74626479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6353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58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3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09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08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80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71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62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477453823"/>
      </p:ext>
    </p:extLst>
  </p:cSld>
  <p:clrMapOvr>
    <a:masterClrMapping/>
  </p:clrMapOvr>
  <p:transition spd="med"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0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714097"/>
      </p:ext>
    </p:extLst>
  </p:cSld>
  <p:clrMapOvr>
    <a:masterClrMapping/>
  </p:clrMapOvr>
  <p:hf hdr="0" dt="0"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 dirty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7" name="Bilde 2">
            <a:extLst>
              <a:ext uri="{FF2B5EF4-FFF2-40B4-BE49-F238E27FC236}">
                <a16:creationId xmlns:a16="http://schemas.microsoft.com/office/drawing/2014/main" id="{22CDF29C-4B50-4BBA-A86D-64CE245148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9" name="TekstSylinder 3">
            <a:extLst>
              <a:ext uri="{FF2B5EF4-FFF2-40B4-BE49-F238E27FC236}">
                <a16:creationId xmlns:a16="http://schemas.microsoft.com/office/drawing/2014/main" id="{2B02B005-8901-4D0B-B1BA-952BEB1A983C}"/>
              </a:ext>
            </a:extLst>
          </p:cNvPr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10" name="Bilde 8">
            <a:extLst>
              <a:ext uri="{FF2B5EF4-FFF2-40B4-BE49-F238E27FC236}">
                <a16:creationId xmlns:a16="http://schemas.microsoft.com/office/drawing/2014/main" id="{340A5A57-81CB-45C1-8733-12FF69C1F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070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82" y="835200"/>
            <a:ext cx="6696837" cy="3231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82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154918354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62854824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  <p:cxnSp>
        <p:nvCxnSpPr>
          <p:cNvPr id="18" name="Rett pil 5">
            <a:extLst>
              <a:ext uri="{FF2B5EF4-FFF2-40B4-BE49-F238E27FC236}">
                <a16:creationId xmlns:a16="http://schemas.microsoft.com/office/drawing/2014/main" id="{B722A126-F097-4324-A1CC-03BB9970E6CC}"/>
              </a:ext>
            </a:extLst>
          </p:cNvPr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1">
            <a:extLst>
              <a:ext uri="{FF2B5EF4-FFF2-40B4-BE49-F238E27FC236}">
                <a16:creationId xmlns:a16="http://schemas.microsoft.com/office/drawing/2014/main" id="{295B08BC-CE5B-4C16-B8D5-F1D71A3A8592}"/>
              </a:ext>
            </a:extLst>
          </p:cNvPr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4">
            <a:extLst>
              <a:ext uri="{FF2B5EF4-FFF2-40B4-BE49-F238E27FC236}">
                <a16:creationId xmlns:a16="http://schemas.microsoft.com/office/drawing/2014/main" id="{923C430A-2357-42C6-BEC6-0A959E11C756}"/>
              </a:ext>
            </a:extLst>
          </p:cNvPr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16">
            <a:extLst>
              <a:ext uri="{FF2B5EF4-FFF2-40B4-BE49-F238E27FC236}">
                <a16:creationId xmlns:a16="http://schemas.microsoft.com/office/drawing/2014/main" id="{0EEAB6DC-E841-47A2-A921-1AD53C809E36}"/>
              </a:ext>
            </a:extLst>
          </p:cNvPr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3">
            <a:extLst>
              <a:ext uri="{FF2B5EF4-FFF2-40B4-BE49-F238E27FC236}">
                <a16:creationId xmlns:a16="http://schemas.microsoft.com/office/drawing/2014/main" id="{64C10D61-C457-4357-B70B-3E3F1B675E46}"/>
              </a:ext>
            </a:extLst>
          </p:cNvPr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3" name="Ellipse 24">
            <a:extLst>
              <a:ext uri="{FF2B5EF4-FFF2-40B4-BE49-F238E27FC236}">
                <a16:creationId xmlns:a16="http://schemas.microsoft.com/office/drawing/2014/main" id="{2759F781-70E8-4558-904B-8D9F1A5ADE49}"/>
              </a:ext>
            </a:extLst>
          </p:cNvPr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30" name="Ellipse 25">
            <a:extLst>
              <a:ext uri="{FF2B5EF4-FFF2-40B4-BE49-F238E27FC236}">
                <a16:creationId xmlns:a16="http://schemas.microsoft.com/office/drawing/2014/main" id="{7D2AB8D4-BD03-47A2-8BD0-699331644EA1}"/>
              </a:ext>
            </a:extLst>
          </p:cNvPr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31" name="Ellipse 26">
            <a:extLst>
              <a:ext uri="{FF2B5EF4-FFF2-40B4-BE49-F238E27FC236}">
                <a16:creationId xmlns:a16="http://schemas.microsoft.com/office/drawing/2014/main" id="{8DA877FC-3928-4255-9783-368D843CC65F}"/>
              </a:ext>
            </a:extLst>
          </p:cNvPr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32" name="Ellipse 27">
            <a:extLst>
              <a:ext uri="{FF2B5EF4-FFF2-40B4-BE49-F238E27FC236}">
                <a16:creationId xmlns:a16="http://schemas.microsoft.com/office/drawing/2014/main" id="{645BFA0B-4417-4ABE-AB1E-C71BB7563DDB}"/>
              </a:ext>
            </a:extLst>
          </p:cNvPr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33" name="Ellipse 28">
            <a:extLst>
              <a:ext uri="{FF2B5EF4-FFF2-40B4-BE49-F238E27FC236}">
                <a16:creationId xmlns:a16="http://schemas.microsoft.com/office/drawing/2014/main" id="{8DA80417-C537-4034-B315-76DFD2D1CCCD}"/>
              </a:ext>
            </a:extLst>
          </p:cNvPr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295669363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65490"/>
      </p:ext>
    </p:extLst>
  </p:cSld>
  <p:clrMapOvr>
    <a:masterClrMapping/>
  </p:clrMapOvr>
  <p:hf hdr="0" dt="0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633551"/>
      </p:ext>
    </p:extLst>
  </p:cSld>
  <p:clrMapOvr>
    <a:masterClrMapping/>
  </p:clrMapOvr>
  <p:hf hdr="0" dt="0"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58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3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09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08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80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71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62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943012586"/>
      </p:ext>
    </p:extLst>
  </p:cSld>
  <p:clrMapOvr>
    <a:masterClrMapping/>
  </p:clrMapOvr>
  <p:transition spd="med"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err="1"/>
              <a:t>subtitle</a:t>
            </a:r>
            <a:endParaRPr lang="nb-NO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4421978" y="5816963"/>
            <a:ext cx="43282" cy="1538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11505810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6"/>
            <a:ext cx="6858000" cy="3368065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tx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088" y="937452"/>
            <a:ext cx="139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kern="1200" cap="all" baseline="0">
                <a:solidFill>
                  <a:schemeClr val="tx1"/>
                </a:solidFill>
                <a:latin typeface="Metric Semibold" panose="020B0703030202060203" pitchFamily="34" charset="0"/>
                <a:ea typeface="+mj-ea"/>
                <a:cs typeface="+mj-cs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4742" y="5743827"/>
            <a:ext cx="35266" cy="2821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4" name="Ellipse 13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6" name="Ellipse 15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34692166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6D16098-1E32-4211-9543-2F89D30CCE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6D16098-1E32-4211-9543-2F89D30CC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38555" y="1692211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38555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5999" y="16922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5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35392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1238555" y="835917"/>
            <a:ext cx="6696837" cy="323165"/>
          </a:xfrm>
        </p:spPr>
        <p:txBody>
          <a:bodyPr/>
          <a:lstStyle>
            <a:lvl1pPr algn="ctr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1345329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>
            <a:off x="-216000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6"/>
          </p:nvPr>
        </p:nvSpPr>
        <p:spPr>
          <a:xfrm>
            <a:off x="482401" y="1401000"/>
            <a:ext cx="8211599" cy="352601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266806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cxnSp>
        <p:nvCxnSpPr>
          <p:cNvPr id="19" name="Rett pil 18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-215999" y="1400999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4434496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4734588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28"/>
          </p:nvPr>
        </p:nvSpPr>
        <p:spPr>
          <a:xfrm>
            <a:off x="4734588" y="1400400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29"/>
          </p:nvPr>
        </p:nvSpPr>
        <p:spPr>
          <a:xfrm>
            <a:off x="482401" y="1400401"/>
            <a:ext cx="3959412" cy="352661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818809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6000" y="1943400"/>
            <a:ext cx="3888705" cy="307777"/>
          </a:xfrm>
        </p:spPr>
        <p:txBody>
          <a:bodyPr>
            <a:noAutofit/>
          </a:bodyPr>
          <a:lstStyle>
            <a:lvl1pPr algn="l">
              <a:defRPr sz="2100">
                <a:latin typeface="+mn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46000" y="2425700"/>
            <a:ext cx="3888705" cy="108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6000" y="1249200"/>
            <a:ext cx="4014000" cy="367781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16" name="Plassholder for lysbil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7" name="Rett pil 16"/>
          <p:cNvCxnSpPr/>
          <p:nvPr userDrawn="1"/>
        </p:nvCxnSpPr>
        <p:spPr>
          <a:xfrm>
            <a:off x="481215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pil 17"/>
          <p:cNvCxnSpPr/>
          <p:nvPr userDrawn="1"/>
        </p:nvCxnSpPr>
        <p:spPr>
          <a:xfrm>
            <a:off x="-215999" y="125002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pil 18"/>
          <p:cNvCxnSpPr/>
          <p:nvPr userDrawn="1"/>
        </p:nvCxnSpPr>
        <p:spPr>
          <a:xfrm>
            <a:off x="-215999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pil 19"/>
          <p:cNvCxnSpPr/>
          <p:nvPr userDrawn="1"/>
        </p:nvCxnSpPr>
        <p:spPr>
          <a:xfrm>
            <a:off x="88271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 userDrawn="1"/>
        </p:nvCxnSpPr>
        <p:spPr>
          <a:xfrm>
            <a:off x="47442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 userDrawn="1"/>
        </p:nvCxnSpPr>
        <p:spPr>
          <a:xfrm>
            <a:off x="82773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 22"/>
          <p:cNvCxnSpPr/>
          <p:nvPr userDrawn="1"/>
        </p:nvCxnSpPr>
        <p:spPr>
          <a:xfrm>
            <a:off x="-215999" y="3505700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 23"/>
          <p:cNvCxnSpPr/>
          <p:nvPr userDrawn="1"/>
        </p:nvCxnSpPr>
        <p:spPr>
          <a:xfrm>
            <a:off x="-215999" y="244350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0" name="Ellipse 29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0171020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22765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2400" y="781568"/>
            <a:ext cx="3988801" cy="32316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82401" y="1624878"/>
            <a:ext cx="3988800" cy="330213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841450"/>
            <a:ext cx="3772800" cy="174741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032114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264778"/>
            <a:ext cx="3989388" cy="20005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latin typeface="+mj-lt"/>
              </a:defRPr>
            </a:lvl1pPr>
            <a:lvl2pPr>
              <a:defRPr sz="1300">
                <a:latin typeface="+mj-lt"/>
              </a:defRPr>
            </a:lvl2pPr>
            <a:lvl3pPr>
              <a:defRPr sz="1300">
                <a:latin typeface="+mj-lt"/>
              </a:defRPr>
            </a:lvl3pPr>
            <a:lvl4pPr>
              <a:defRPr sz="1300">
                <a:latin typeface="+mj-lt"/>
              </a:defRPr>
            </a:lvl4pPr>
            <a:lvl5pPr>
              <a:defRPr sz="1300">
                <a:latin typeface="+mj-lt"/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24" name="Rett pil 23"/>
          <p:cNvCxnSpPr/>
          <p:nvPr userDrawn="1"/>
        </p:nvCxnSpPr>
        <p:spPr>
          <a:xfrm>
            <a:off x="4824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pil 24"/>
          <p:cNvCxnSpPr/>
          <p:nvPr userDrawn="1"/>
        </p:nvCxnSpPr>
        <p:spPr>
          <a:xfrm>
            <a:off x="-216000" y="162487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pil 25"/>
          <p:cNvCxnSpPr/>
          <p:nvPr userDrawn="1"/>
        </p:nvCxnSpPr>
        <p:spPr>
          <a:xfrm>
            <a:off x="-216000" y="4921635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pil 26"/>
          <p:cNvCxnSpPr>
            <a:endCxn id="40" idx="3"/>
          </p:cNvCxnSpPr>
          <p:nvPr userDrawn="1"/>
        </p:nvCxnSpPr>
        <p:spPr>
          <a:xfrm>
            <a:off x="8693999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7"/>
          <p:cNvCxnSpPr/>
          <p:nvPr userDrawn="1"/>
        </p:nvCxnSpPr>
        <p:spPr>
          <a:xfrm>
            <a:off x="-215999" y="110473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28"/>
          <p:cNvCxnSpPr/>
          <p:nvPr userDrawn="1"/>
        </p:nvCxnSpPr>
        <p:spPr>
          <a:xfrm>
            <a:off x="4471201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pil 29"/>
          <p:cNvCxnSpPr/>
          <p:nvPr userDrawn="1"/>
        </p:nvCxnSpPr>
        <p:spPr>
          <a:xfrm>
            <a:off x="4921200" y="-216000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6000" y="2741814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-215999" y="3271011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lassholder for innhold 2"/>
          <p:cNvSpPr>
            <a:spLocks noGrp="1"/>
          </p:cNvSpPr>
          <p:nvPr>
            <p:ph idx="25"/>
          </p:nvPr>
        </p:nvSpPr>
        <p:spPr>
          <a:xfrm>
            <a:off x="4921200" y="1085812"/>
            <a:ext cx="3772799" cy="165600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2" name="Plassholder for innhold 2"/>
          <p:cNvSpPr>
            <a:spLocks noGrp="1"/>
          </p:cNvSpPr>
          <p:nvPr>
            <p:ph idx="26"/>
          </p:nvPr>
        </p:nvSpPr>
        <p:spPr>
          <a:xfrm>
            <a:off x="4921199" y="3271011"/>
            <a:ext cx="3772799" cy="165600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3" name="Ellipse 32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4" name="Ellipse 33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5" name="Ellipse 34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6" name="Ellipse 35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49907000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15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248936"/>
            <a:ext cx="3772800" cy="169277"/>
          </a:xfrm>
        </p:spPr>
        <p:txBody>
          <a:bodyPr wrap="square" anchor="b" anchorCtr="0">
            <a:norm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29" name="Rett pil 28"/>
          <p:cNvCxnSpPr/>
          <p:nvPr userDrawn="1"/>
        </p:nvCxnSpPr>
        <p:spPr>
          <a:xfrm>
            <a:off x="4824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/>
          <p:cNvCxnSpPr/>
          <p:nvPr userDrawn="1"/>
        </p:nvCxnSpPr>
        <p:spPr>
          <a:xfrm>
            <a:off x="-215999" y="4995553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 31"/>
          <p:cNvCxnSpPr/>
          <p:nvPr userDrawn="1"/>
        </p:nvCxnSpPr>
        <p:spPr>
          <a:xfrm>
            <a:off x="8693999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 32"/>
          <p:cNvCxnSpPr/>
          <p:nvPr userDrawn="1"/>
        </p:nvCxnSpPr>
        <p:spPr>
          <a:xfrm>
            <a:off x="-215999" y="3494098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 33"/>
          <p:cNvCxnSpPr/>
          <p:nvPr userDrawn="1"/>
        </p:nvCxnSpPr>
        <p:spPr>
          <a:xfrm>
            <a:off x="-215999" y="2978937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pil 34"/>
          <p:cNvCxnSpPr/>
          <p:nvPr userDrawn="1"/>
        </p:nvCxnSpPr>
        <p:spPr>
          <a:xfrm>
            <a:off x="4255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 35"/>
          <p:cNvCxnSpPr/>
          <p:nvPr userDrawn="1"/>
        </p:nvCxnSpPr>
        <p:spPr>
          <a:xfrm>
            <a:off x="4921200" y="-215999"/>
            <a:ext cx="0" cy="18002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ssholder for innhold 2"/>
          <p:cNvSpPr>
            <a:spLocks noGrp="1"/>
          </p:cNvSpPr>
          <p:nvPr>
            <p:ph idx="28"/>
          </p:nvPr>
        </p:nvSpPr>
        <p:spPr>
          <a:xfrm>
            <a:off x="482400" y="1493891"/>
            <a:ext cx="3772800" cy="1490134"/>
          </a:xfrm>
        </p:spPr>
        <p:txBody>
          <a:bodyPr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5" name="Plassholder for innhold 2"/>
          <p:cNvSpPr>
            <a:spLocks noGrp="1"/>
          </p:cNvSpPr>
          <p:nvPr>
            <p:ph idx="29"/>
          </p:nvPr>
        </p:nvSpPr>
        <p:spPr>
          <a:xfrm>
            <a:off x="482400" y="3503623"/>
            <a:ext cx="3772800" cy="14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6" name="Plassholder for innhold 2"/>
          <p:cNvSpPr>
            <a:spLocks noGrp="1"/>
          </p:cNvSpPr>
          <p:nvPr>
            <p:ph idx="30"/>
          </p:nvPr>
        </p:nvSpPr>
        <p:spPr>
          <a:xfrm>
            <a:off x="4921199" y="3503623"/>
            <a:ext cx="3772800" cy="14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7" name="Plassholder for innhold 2"/>
          <p:cNvSpPr>
            <a:spLocks noGrp="1"/>
          </p:cNvSpPr>
          <p:nvPr>
            <p:ph idx="31"/>
          </p:nvPr>
        </p:nvSpPr>
        <p:spPr>
          <a:xfrm>
            <a:off x="4921199" y="1499355"/>
            <a:ext cx="3772800" cy="14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37" name="Ellipse 36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38" name="Ellipse 37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39" name="Ellipse 38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40" name="Ellipse 39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41" name="Ellipse 40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cxnSp>
        <p:nvCxnSpPr>
          <p:cNvPr id="48" name="Rett pil 47"/>
          <p:cNvCxnSpPr/>
          <p:nvPr userDrawn="1"/>
        </p:nvCxnSpPr>
        <p:spPr>
          <a:xfrm>
            <a:off x="-215999" y="1483976"/>
            <a:ext cx="18002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483721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715000"/>
          </a:xfrm>
          <a:blipFill>
            <a:blip r:embed="rId2"/>
            <a:stretch>
              <a:fillRect/>
            </a:stretch>
          </a:blipFill>
        </p:spPr>
        <p:txBody>
          <a:bodyPr tIns="720000" rIns="0" bIns="0" anchor="ctr" anchorCtr="1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8" y="2272471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17"/>
            <a:ext cx="7886700" cy="246221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Metric Semibold" panose="020B0703030202060203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err="1"/>
              <a:t>chapter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lassholder for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11" name="Ellipse 10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9900000" y="2873225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13" name="Ellipse 12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5" name="Ellipse 14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262028677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</a:t>
            </a:r>
            <a:r>
              <a:rPr lang="nb-NO" err="1"/>
              <a:t>Confidential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Ellipse 4"/>
          <p:cNvSpPr>
            <a:spLocks noChangeAspect="1"/>
          </p:cNvSpPr>
          <p:nvPr userDrawn="1"/>
        </p:nvSpPr>
        <p:spPr>
          <a:xfrm>
            <a:off x="9900000" y="1000224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6" name="Ellipse 5"/>
          <p:cNvSpPr>
            <a:spLocks noChangeAspect="1"/>
          </p:cNvSpPr>
          <p:nvPr userDrawn="1"/>
        </p:nvSpPr>
        <p:spPr>
          <a:xfrm>
            <a:off x="9900000" y="68486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7" name="Ellipse 6"/>
          <p:cNvSpPr>
            <a:spLocks noChangeAspect="1"/>
          </p:cNvSpPr>
          <p:nvPr userDrawn="1"/>
        </p:nvSpPr>
        <p:spPr>
          <a:xfrm>
            <a:off x="9900000" y="1931962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8" name="Ellipse 7"/>
          <p:cNvSpPr>
            <a:spLocks noChangeAspect="1"/>
          </p:cNvSpPr>
          <p:nvPr userDrawn="1"/>
        </p:nvSpPr>
        <p:spPr>
          <a:xfrm>
            <a:off x="9900000" y="2863700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9900000" y="3795437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10" name="Ellipse 9"/>
          <p:cNvSpPr>
            <a:spLocks noChangeAspect="1"/>
          </p:cNvSpPr>
          <p:nvPr userDrawn="1"/>
        </p:nvSpPr>
        <p:spPr>
          <a:xfrm>
            <a:off x="9900000" y="4727175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713392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" name="Bilde 6" descr="Bild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  <a:ln w="12700">
            <a:miter lim="400000"/>
          </a:ln>
        </p:spPr>
      </p:pic>
      <p:sp>
        <p:nvSpPr>
          <p:cNvPr id="347" name="Title Text"/>
          <p:cNvSpPr txBox="1">
            <a:spLocks noGrp="1"/>
          </p:cNvSpPr>
          <p:nvPr>
            <p:ph type="title"/>
          </p:nvPr>
        </p:nvSpPr>
        <p:spPr>
          <a:xfrm>
            <a:off x="1143000" y="2313815"/>
            <a:ext cx="6858000" cy="36933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lvl1pPr>
          </a:lstStyle>
          <a:p>
            <a:r>
              <a:t>Title Text</a:t>
            </a:r>
          </a:p>
        </p:txBody>
      </p:sp>
      <p:sp>
        <p:nvSpPr>
          <p:cNvPr id="3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43000" y="2136106"/>
            <a:ext cx="6858000" cy="215445"/>
          </a:xfrm>
          <a:prstGeom prst="rect">
            <a:avLst/>
          </a:prstGeom>
        </p:spPr>
        <p:txBody>
          <a:bodyPr anchor="b"/>
          <a:lstStyle>
            <a:lvl1pPr marL="0" indent="0" algn="ctr">
              <a:buSzTx/>
              <a:buFontTx/>
              <a:buNone/>
              <a:defRPr sz="1400" cap="all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lvl1pPr>
            <a:lvl2pPr marL="0" indent="342900" algn="ctr">
              <a:buSzTx/>
              <a:buFontTx/>
              <a:buNone/>
              <a:defRPr sz="1400" cap="all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lvl2pPr>
            <a:lvl3pPr marL="0" indent="685800" algn="ctr">
              <a:buSzTx/>
              <a:buFontTx/>
              <a:buNone/>
              <a:defRPr sz="1400" cap="all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lvl3pPr>
            <a:lvl4pPr marL="0" indent="1028700" algn="ctr">
              <a:buSzTx/>
              <a:buFontTx/>
              <a:buNone/>
              <a:defRPr sz="1400" cap="all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lvl4pPr>
            <a:lvl5pPr marL="0" indent="1371600" algn="ctr">
              <a:buSzTx/>
              <a:buFontTx/>
              <a:buNone/>
              <a:defRPr sz="1400" cap="all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9" name="Plassholder for tekst 10"/>
          <p:cNvSpPr>
            <a:spLocks noGrp="1"/>
          </p:cNvSpPr>
          <p:nvPr>
            <p:ph type="body" sz="quarter" idx="13"/>
          </p:nvPr>
        </p:nvSpPr>
        <p:spPr>
          <a:xfrm>
            <a:off x="1143000" y="2970119"/>
            <a:ext cx="6858000" cy="246222"/>
          </a:xfrm>
          <a:prstGeom prst="rect">
            <a:avLst/>
          </a:prstGeom>
        </p:spPr>
        <p:txBody>
          <a:bodyPr/>
          <a:lstStyle/>
          <a:p>
            <a:pPr marL="0" indent="0" algn="ctr">
              <a:buSzTx/>
              <a:buFontTx/>
              <a:buNone/>
              <a:defRPr sz="1600" cap="all">
                <a:solidFill>
                  <a:srgbClr val="FFFFFF"/>
                </a:solidFill>
                <a:latin typeface="Metric Regular"/>
                <a:ea typeface="Metric Regular"/>
                <a:cs typeface="Metric Regular"/>
                <a:sym typeface="Metric Regular"/>
              </a:defRPr>
            </a:pPr>
            <a:endParaRPr/>
          </a:p>
        </p:txBody>
      </p:sp>
      <p:sp>
        <p:nvSpPr>
          <p:cNvPr id="350" name="Plassholder for tekst 2"/>
          <p:cNvSpPr>
            <a:spLocks noGrp="1"/>
          </p:cNvSpPr>
          <p:nvPr>
            <p:ph type="body" sz="quarter" idx="14"/>
          </p:nvPr>
        </p:nvSpPr>
        <p:spPr>
          <a:xfrm>
            <a:off x="4319999" y="342000"/>
            <a:ext cx="504001" cy="25200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indent="0">
              <a:buSzTx/>
              <a:buFontTx/>
              <a:buNone/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5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698874" y="5681737"/>
            <a:ext cx="127001" cy="127001"/>
          </a:xfrm>
          <a:prstGeom prst="rect">
            <a:avLst/>
          </a:prstGeom>
        </p:spPr>
        <p:txBody>
          <a:bodyPr/>
          <a:lstStyle>
            <a:lvl1pPr>
              <a:lnSpc>
                <a:spcPts val="0"/>
              </a:lnSpc>
              <a:defRPr sz="100">
                <a:solidFill>
                  <a:srgbClr val="D9D9D9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3262284"/>
      </p:ext>
    </p:extLst>
  </p:cSld>
  <p:clrMapOvr>
    <a:masterClrMapping/>
  </p:clrMapOvr>
  <p:transition spd="med"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2">
  <p:cSld name="1_Title and content 2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 txBox="1">
            <a:spLocks noGrp="1"/>
          </p:cNvSpPr>
          <p:nvPr>
            <p:ph type="sldNum" idx="12"/>
          </p:nvPr>
        </p:nvSpPr>
        <p:spPr>
          <a:xfrm>
            <a:off x="4508499" y="5429325"/>
            <a:ext cx="127001" cy="127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/>
              <a:t>‹#›</a:t>
            </a:fld>
            <a:endParaRPr/>
          </a:p>
        </p:txBody>
      </p:sp>
      <p:sp>
        <p:nvSpPr>
          <p:cNvPr id="94" name="Shape 94"/>
          <p:cNvSpPr txBox="1">
            <a:spLocks noGrp="1"/>
          </p:cNvSpPr>
          <p:nvPr>
            <p:ph type="title"/>
          </p:nvPr>
        </p:nvSpPr>
        <p:spPr>
          <a:xfrm>
            <a:off x="482400" y="835916"/>
            <a:ext cx="8211601" cy="3231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Shape 95"/>
          <p:cNvSpPr txBox="1">
            <a:spLocks noGrp="1"/>
          </p:cNvSpPr>
          <p:nvPr>
            <p:ph type="body" idx="1"/>
          </p:nvPr>
        </p:nvSpPr>
        <p:spPr>
          <a:xfrm>
            <a:off x="482400" y="1401000"/>
            <a:ext cx="8211600" cy="35260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−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−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−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−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115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Char char="•"/>
              <a:defRPr sz="1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187443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4958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4560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0387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367443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2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2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898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8450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6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933569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588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7076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7725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7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4864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6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2288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5306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1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946117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4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610477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3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6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609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>
                <a:solidFill>
                  <a:schemeClr val="tx1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schemeClr val="tx1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6285482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463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300" baseline="0">
                <a:solidFill>
                  <a:schemeClr val="tx1"/>
                </a:solidFill>
              </a:defRPr>
            </a:lvl1pPr>
            <a:lvl2pPr>
              <a:defRPr sz="1200" baseline="0">
                <a:solidFill>
                  <a:schemeClr val="tx1"/>
                </a:solidFill>
              </a:defRPr>
            </a:lvl2pPr>
            <a:lvl3pPr>
              <a:defRPr sz="1000" baseline="0">
                <a:solidFill>
                  <a:schemeClr val="tx1"/>
                </a:solidFill>
              </a:defRPr>
            </a:lvl3pPr>
            <a:lvl4pPr>
              <a:defRPr sz="900" baseline="0">
                <a:solidFill>
                  <a:schemeClr val="tx1"/>
                </a:solidFill>
              </a:defRPr>
            </a:lvl4pPr>
            <a:lvl5pPr>
              <a:defRPr sz="90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66"/>
            <a:ext cx="8229600" cy="66410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335589"/>
            <a:ext cx="2895600" cy="307722"/>
          </a:xfrm>
          <a:prstGeom prst="rect">
            <a:avLst/>
          </a:prstGeom>
          <a:ln/>
        </p:spPr>
        <p:txBody>
          <a:bodyPr lIns="76146" tIns="38073" rIns="76146" bIns="38073"/>
          <a:lstStyle>
            <a:lvl1pPr>
              <a:defRPr/>
            </a:lvl1pPr>
          </a:lstStyle>
          <a:p>
            <a:pPr defTabSz="761474">
              <a:defRPr/>
            </a:pPr>
            <a:endParaRPr lang="en-GB" sz="15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9290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76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8814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071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129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42305049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2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2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6093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38303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6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6090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93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4337" y="1333693"/>
            <a:ext cx="3922776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85775" y="4924431"/>
            <a:ext cx="8210550" cy="314325"/>
          </a:xfrm>
        </p:spPr>
        <p:txBody>
          <a:bodyPr anchor="b" anchorCtr="0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en-US" dirty="0"/>
              <a:t>Insert footnot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481813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1"/>
          </p:nvPr>
        </p:nvSpPr>
        <p:spPr>
          <a:xfrm>
            <a:off x="4772025" y="3208208"/>
            <a:ext cx="3925088" cy="252377"/>
          </a:xfrm>
          <a:solidFill>
            <a:schemeClr val="bg1">
              <a:lumMod val="85000"/>
            </a:schemeClr>
          </a:solidFill>
        </p:spPr>
        <p:txBody>
          <a:bodyPr vert="horz" wrap="square" lIns="0" tIns="18288" rIns="0" bIns="18288" rtlCol="0" anchor="t" anchorCtr="0">
            <a:spAutoFit/>
          </a:bodyPr>
          <a:lstStyle>
            <a:lvl1pPr marL="209515" indent="-209515" algn="ctr">
              <a:buNone/>
              <a:defRPr lang="en-GB" sz="1400" b="1" dirty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marL="0" lvl="0" indent="0" algn="ctr" defTabSz="713111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33"/>
          </p:nvPr>
        </p:nvSpPr>
        <p:spPr>
          <a:xfrm>
            <a:off x="4772613" y="1604010"/>
            <a:ext cx="3924500" cy="13868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34"/>
          </p:nvPr>
        </p:nvSpPr>
        <p:spPr>
          <a:xfrm>
            <a:off x="482401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lassholder for innhold 2"/>
          <p:cNvSpPr>
            <a:spLocks noGrp="1"/>
          </p:cNvSpPr>
          <p:nvPr>
            <p:ph idx="35"/>
          </p:nvPr>
        </p:nvSpPr>
        <p:spPr>
          <a:xfrm>
            <a:off x="4772613" y="3482340"/>
            <a:ext cx="3924500" cy="145161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5179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6722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4184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7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5820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6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68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412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1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7693430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4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8439828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3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6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496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1708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300" baseline="0">
                <a:solidFill>
                  <a:schemeClr val="tx1"/>
                </a:solidFill>
              </a:defRPr>
            </a:lvl1pPr>
            <a:lvl2pPr>
              <a:defRPr sz="1200" baseline="0">
                <a:solidFill>
                  <a:schemeClr val="tx1"/>
                </a:solidFill>
              </a:defRPr>
            </a:lvl2pPr>
            <a:lvl3pPr>
              <a:defRPr sz="1000" baseline="0">
                <a:solidFill>
                  <a:schemeClr val="tx1"/>
                </a:solidFill>
              </a:defRPr>
            </a:lvl3pPr>
            <a:lvl4pPr>
              <a:defRPr sz="900" baseline="0">
                <a:solidFill>
                  <a:schemeClr val="tx1"/>
                </a:solidFill>
              </a:defRPr>
            </a:lvl4pPr>
            <a:lvl5pPr>
              <a:defRPr sz="90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66"/>
            <a:ext cx="8229600" cy="66410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335589"/>
            <a:ext cx="2895600" cy="307722"/>
          </a:xfrm>
          <a:prstGeom prst="rect">
            <a:avLst/>
          </a:prstGeom>
          <a:ln/>
        </p:spPr>
        <p:txBody>
          <a:bodyPr lIns="76146" tIns="38073" rIns="76146" bIns="38073"/>
          <a:lstStyle>
            <a:lvl1pPr>
              <a:defRPr/>
            </a:lvl1pPr>
          </a:lstStyle>
          <a:p>
            <a:pPr defTabSz="761474">
              <a:defRPr/>
            </a:pPr>
            <a:endParaRPr lang="en-GB" sz="15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39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ackground 1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9600"/>
            <a:ext cx="65" cy="10772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73994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1940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7436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5177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7623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01812545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798143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ssets mult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885769"/>
            <a:ext cx="6858000" cy="307777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0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3211118"/>
            <a:ext cx="6858000" cy="184666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Aft>
                <a:spcPts val="1200"/>
              </a:spcAft>
              <a:buNone/>
              <a:defRPr sz="1200" cap="none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Tekst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563823" y="5395233"/>
            <a:ext cx="355867" cy="1077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A22C97-AB85-49C5-9FAF-063ED9B28F67}" type="datetimeFigureOut">
              <a:rPr lang="nb-NO" smtClean="0">
                <a:solidFill>
                  <a:prstClr val="white"/>
                </a:solidFill>
              </a:rPr>
              <a:pPr/>
              <a:t>11.10.2018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332000" y="5395233"/>
            <a:ext cx="6480000" cy="1077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594619" y="5395233"/>
            <a:ext cx="89769" cy="1077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3A977F-1452-4597-9E9D-AEC002F918F3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3" name="Plassholder for bilde 12"/>
          <p:cNvSpPr>
            <a:spLocks noGrp="1"/>
          </p:cNvSpPr>
          <p:nvPr>
            <p:ph type="pic" sz="quarter" idx="16"/>
          </p:nvPr>
        </p:nvSpPr>
        <p:spPr>
          <a:xfrm>
            <a:off x="3141000" y="1168229"/>
            <a:ext cx="2862000" cy="160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7"/>
          </p:nvPr>
        </p:nvSpPr>
        <p:spPr>
          <a:xfrm>
            <a:off x="1146509" y="4935617"/>
            <a:ext cx="1396801" cy="80021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755" y="162262"/>
            <a:ext cx="538529" cy="292084"/>
          </a:xfrm>
          <a:prstGeom prst="rect">
            <a:avLst/>
          </a:prstGeom>
        </p:spPr>
      </p:pic>
      <p:sp>
        <p:nvSpPr>
          <p:cNvPr id="20" name="Plassholder for bilde 19"/>
          <p:cNvSpPr>
            <a:spLocks noGrp="1"/>
          </p:cNvSpPr>
          <p:nvPr>
            <p:ph type="pic" sz="quarter" idx="18"/>
          </p:nvPr>
        </p:nvSpPr>
        <p:spPr>
          <a:xfrm>
            <a:off x="1143000" y="3949200"/>
            <a:ext cx="1396800" cy="86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1" name="Plassholder for bilde 19"/>
          <p:cNvSpPr>
            <a:spLocks noGrp="1"/>
          </p:cNvSpPr>
          <p:nvPr>
            <p:ph type="pic" sz="quarter" idx="19"/>
          </p:nvPr>
        </p:nvSpPr>
        <p:spPr>
          <a:xfrm>
            <a:off x="2952900" y="3949200"/>
            <a:ext cx="1396800" cy="86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2" name="Plassholder for bilde 19"/>
          <p:cNvSpPr>
            <a:spLocks noGrp="1"/>
          </p:cNvSpPr>
          <p:nvPr>
            <p:ph type="pic" sz="quarter" idx="20"/>
          </p:nvPr>
        </p:nvSpPr>
        <p:spPr>
          <a:xfrm>
            <a:off x="4762800" y="3949200"/>
            <a:ext cx="1396800" cy="86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3" name="Plassholder for bilde 19"/>
          <p:cNvSpPr>
            <a:spLocks noGrp="1"/>
          </p:cNvSpPr>
          <p:nvPr>
            <p:ph type="pic" sz="quarter" idx="21"/>
          </p:nvPr>
        </p:nvSpPr>
        <p:spPr>
          <a:xfrm>
            <a:off x="6572700" y="3949200"/>
            <a:ext cx="1396800" cy="86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6" name="Plassholder for tekst 15"/>
          <p:cNvSpPr>
            <a:spLocks noGrp="1"/>
          </p:cNvSpPr>
          <p:nvPr>
            <p:ph type="body" sz="quarter" idx="22"/>
          </p:nvPr>
        </p:nvSpPr>
        <p:spPr>
          <a:xfrm>
            <a:off x="2952901" y="4935617"/>
            <a:ext cx="1396801" cy="80021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7" name="Plassholder for tekst 15"/>
          <p:cNvSpPr>
            <a:spLocks noGrp="1"/>
          </p:cNvSpPr>
          <p:nvPr>
            <p:ph type="body" sz="quarter" idx="23"/>
          </p:nvPr>
        </p:nvSpPr>
        <p:spPr>
          <a:xfrm>
            <a:off x="4762818" y="4935617"/>
            <a:ext cx="1396801" cy="80021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28" name="Plassholder for tekst 15"/>
          <p:cNvSpPr>
            <a:spLocks noGrp="1"/>
          </p:cNvSpPr>
          <p:nvPr>
            <p:ph type="body" sz="quarter" idx="24"/>
          </p:nvPr>
        </p:nvSpPr>
        <p:spPr>
          <a:xfrm>
            <a:off x="6572710" y="4935617"/>
            <a:ext cx="1396801" cy="80021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175866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482415" y="1401003"/>
            <a:ext cx="8211599" cy="352601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482400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310999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492163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869399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10481455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6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75685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368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1645295" y="260449"/>
            <a:ext cx="5853411" cy="126504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273358">
              <a:lnSpc>
                <a:spcPct val="100000"/>
              </a:lnSpc>
              <a:defRPr sz="4300" b="0" spc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lvl="0">
              <a:defRPr sz="1800"/>
            </a:pPr>
            <a:r>
              <a:rPr sz="4300"/>
              <a:t>Title Text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idx="1"/>
          </p:nvPr>
        </p:nvSpPr>
        <p:spPr>
          <a:xfrm>
            <a:off x="1645295" y="1525493"/>
            <a:ext cx="5853411" cy="368349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3109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marL="439089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2pPr>
            <a:lvl3pPr marL="647080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3pPr>
            <a:lvl4pPr marL="855071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4pPr>
            <a:lvl5pPr marL="1063062" indent="-231099" defTabSz="273358">
              <a:spcBef>
                <a:spcPts val="1966"/>
              </a:spcBef>
              <a:buSzPct val="75000"/>
              <a:buChar char="•"/>
              <a:defRPr sz="1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189033207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diagram 10"/>
          <p:cNvSpPr>
            <a:spLocks noGrp="1"/>
          </p:cNvSpPr>
          <p:nvPr>
            <p:ph type="chart" sz="quarter" idx="14"/>
          </p:nvPr>
        </p:nvSpPr>
        <p:spPr>
          <a:xfrm>
            <a:off x="4921200" y="1536966"/>
            <a:ext cx="3772800" cy="1836000"/>
          </a:xfrm>
        </p:spPr>
        <p:txBody>
          <a:bodyPr bIns="719877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nb-NO" dirty="0"/>
          </a:p>
        </p:txBody>
      </p:sp>
      <p:sp>
        <p:nvSpPr>
          <p:cNvPr id="12" name="Plassholder for diagram 10"/>
          <p:cNvSpPr>
            <a:spLocks noGrp="1"/>
          </p:cNvSpPr>
          <p:nvPr>
            <p:ph type="chart" sz="quarter" idx="15"/>
          </p:nvPr>
        </p:nvSpPr>
        <p:spPr>
          <a:xfrm>
            <a:off x="4921200" y="3722166"/>
            <a:ext cx="3772800" cy="1836000"/>
          </a:xfrm>
        </p:spPr>
        <p:txBody>
          <a:bodyPr bIns="719877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nb-NO" dirty="0"/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9"/>
          </p:nvPr>
        </p:nvSpPr>
        <p:spPr>
          <a:xfrm>
            <a:off x="4921200" y="1262432"/>
            <a:ext cx="3772800" cy="169277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20"/>
          </p:nvPr>
        </p:nvSpPr>
        <p:spPr>
          <a:xfrm>
            <a:off x="4921200" y="3453090"/>
            <a:ext cx="3772800" cy="169277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dato 20"/>
          <p:cNvSpPr>
            <a:spLocks noGrp="1"/>
          </p:cNvSpPr>
          <p:nvPr>
            <p:ph type="dt" sz="half" idx="21"/>
          </p:nvPr>
        </p:nvSpPr>
        <p:spPr>
          <a:xfrm>
            <a:off x="8693936" y="5394284"/>
            <a:ext cx="65" cy="107722"/>
          </a:xfrm>
          <a:prstGeom prst="rect">
            <a:avLst/>
          </a:prstGeo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22"/>
          </p:nvPr>
        </p:nvSpPr>
        <p:spPr>
          <a:xfrm>
            <a:off x="482400" y="5394760"/>
            <a:ext cx="2252254" cy="107722"/>
          </a:xfrm>
          <a:prstGeom prst="rect">
            <a:avLst/>
          </a:prstGeom>
        </p:spPr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23"/>
          </p:nvPr>
        </p:nvSpPr>
        <p:spPr>
          <a:xfrm>
            <a:off x="4430955" y="5395234"/>
            <a:ext cx="282129" cy="107722"/>
          </a:xfrm>
          <a:prstGeom prst="rect">
            <a:avLst/>
          </a:prstGeom>
        </p:spPr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3" name="Plassholder for diagram 10"/>
          <p:cNvSpPr>
            <a:spLocks noGrp="1"/>
          </p:cNvSpPr>
          <p:nvPr>
            <p:ph type="chart" sz="quarter" idx="24"/>
          </p:nvPr>
        </p:nvSpPr>
        <p:spPr>
          <a:xfrm>
            <a:off x="482400" y="1536966"/>
            <a:ext cx="3772800" cy="1836000"/>
          </a:xfrm>
        </p:spPr>
        <p:txBody>
          <a:bodyPr bIns="719877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nb-NO" dirty="0"/>
          </a:p>
        </p:txBody>
      </p:sp>
      <p:sp>
        <p:nvSpPr>
          <p:cNvPr id="14" name="Plassholder for diagram 10"/>
          <p:cNvSpPr>
            <a:spLocks noGrp="1"/>
          </p:cNvSpPr>
          <p:nvPr>
            <p:ph type="chart" sz="quarter" idx="25"/>
          </p:nvPr>
        </p:nvSpPr>
        <p:spPr>
          <a:xfrm>
            <a:off x="482400" y="3722166"/>
            <a:ext cx="3772800" cy="1836000"/>
          </a:xfrm>
        </p:spPr>
        <p:txBody>
          <a:bodyPr bIns="719877" anchor="ctr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nb-NO" dirty="0"/>
          </a:p>
        </p:txBody>
      </p:sp>
      <p:sp>
        <p:nvSpPr>
          <p:cNvPr id="15" name="Plassholder for tekst 16"/>
          <p:cNvSpPr>
            <a:spLocks noGrp="1"/>
          </p:cNvSpPr>
          <p:nvPr>
            <p:ph type="body" sz="quarter" idx="26"/>
          </p:nvPr>
        </p:nvSpPr>
        <p:spPr>
          <a:xfrm>
            <a:off x="482400" y="1262432"/>
            <a:ext cx="3772800" cy="169277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ssholder for tekst 16"/>
          <p:cNvSpPr>
            <a:spLocks noGrp="1"/>
          </p:cNvSpPr>
          <p:nvPr>
            <p:ph type="body" sz="quarter" idx="27"/>
          </p:nvPr>
        </p:nvSpPr>
        <p:spPr>
          <a:xfrm>
            <a:off x="482400" y="3453090"/>
            <a:ext cx="3772800" cy="169277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1100" cap="all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tel 1"/>
          <p:cNvSpPr>
            <a:spLocks noGrp="1"/>
          </p:cNvSpPr>
          <p:nvPr>
            <p:ph type="ctrTitle"/>
          </p:nvPr>
        </p:nvSpPr>
        <p:spPr>
          <a:xfrm>
            <a:off x="1143000" y="798151"/>
            <a:ext cx="6858000" cy="276999"/>
          </a:xfrm>
        </p:spPr>
        <p:txBody>
          <a:bodyPr anchor="t" anchorCtr="0">
            <a:spAutoFit/>
          </a:bodyPr>
          <a:lstStyle>
            <a:lvl1pPr algn="ctr">
              <a:defRPr sz="1800">
                <a:solidFill>
                  <a:schemeClr val="tx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48459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82401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4" name="Plassholder for tekst 4"/>
          <p:cNvSpPr>
            <a:spLocks noGrp="1"/>
          </p:cNvSpPr>
          <p:nvPr>
            <p:ph type="body" sz="quarter" idx="24"/>
          </p:nvPr>
        </p:nvSpPr>
        <p:spPr>
          <a:xfrm>
            <a:off x="481813" y="1333675"/>
            <a:ext cx="3925088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2673675" y="356403"/>
            <a:ext cx="3829050" cy="257175"/>
          </a:xfrm>
          <a:ln>
            <a:noFill/>
          </a:ln>
        </p:spPr>
        <p:txBody>
          <a:bodyPr>
            <a:noAutofit/>
          </a:bodyPr>
          <a:lstStyle>
            <a:lvl1pPr marL="0" indent="0" algn="ctr">
              <a:buNone/>
              <a:defRPr sz="1800" cap="none" baseline="0">
                <a:latin typeface="Metric Thin" pitchFamily="34" charset="0"/>
                <a:ea typeface="Kozuka Gothic Pro L" pitchFamily="34" charset="-128"/>
              </a:defRPr>
            </a:lvl1pPr>
            <a:lvl2pPr>
              <a:defRPr sz="1500">
                <a:latin typeface="Kozuka Gothic Pro L" pitchFamily="34" charset="-128"/>
                <a:ea typeface="Kozuka Gothic Pro L" pitchFamily="34" charset="-128"/>
              </a:defRPr>
            </a:lvl2pPr>
            <a:lvl3pPr>
              <a:defRPr sz="1500">
                <a:latin typeface="Kozuka Gothic Pro L" pitchFamily="34" charset="-128"/>
                <a:ea typeface="Kozuka Gothic Pro L" pitchFamily="34" charset="-128"/>
              </a:defRPr>
            </a:lvl3pPr>
            <a:lvl4pPr>
              <a:defRPr sz="1500">
                <a:latin typeface="Kozuka Gothic Pro L" pitchFamily="34" charset="-128"/>
                <a:ea typeface="Kozuka Gothic Pro L" pitchFamily="34" charset="-128"/>
              </a:defRPr>
            </a:lvl4pPr>
            <a:lvl5pPr>
              <a:defRPr sz="1500">
                <a:latin typeface="Kozuka Gothic Pro L" pitchFamily="34" charset="-128"/>
                <a:ea typeface="Kozuka Gothic Pro L" pitchFamily="34" charset="-128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4771224" y="1333675"/>
            <a:ext cx="3922776" cy="252377"/>
          </a:xfrm>
          <a:solidFill>
            <a:schemeClr val="bg1">
              <a:lumMod val="85000"/>
            </a:schemeClr>
          </a:solidFill>
        </p:spPr>
        <p:txBody>
          <a:bodyPr tIns="18288" bIns="18288" rtlCol="0">
            <a:spAutoFit/>
          </a:bodyPr>
          <a:lstStyle>
            <a:lvl1pPr marL="209515" indent="-209515" algn="ctr">
              <a:buNone/>
              <a:defRPr lang="en-US" sz="1400" b="1" dirty="0" smtClean="0">
                <a:latin typeface="Metric Medium" pitchFamily="34" charset="0"/>
                <a:ea typeface="Kozuka Gothic Pro H" pitchFamily="34" charset="-128"/>
                <a:cs typeface="Aharoni" panose="02010803020104030203" pitchFamily="2" charset="-79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85775" y="4924431"/>
            <a:ext cx="8210550" cy="314325"/>
          </a:xfrm>
        </p:spPr>
        <p:txBody>
          <a:bodyPr anchor="b">
            <a:norm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900"/>
            </a:lvl1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400" y="650130"/>
            <a:ext cx="821160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lassholder for innhold 2"/>
          <p:cNvSpPr>
            <a:spLocks noGrp="1"/>
          </p:cNvSpPr>
          <p:nvPr>
            <p:ph idx="29"/>
          </p:nvPr>
        </p:nvSpPr>
        <p:spPr>
          <a:xfrm>
            <a:off x="4769500" y="1604010"/>
            <a:ext cx="3924500" cy="3329940"/>
          </a:xfrm>
        </p:spPr>
        <p:txBody>
          <a:bodyPr>
            <a:noAutofit/>
          </a:bodyPr>
          <a:lstStyle>
            <a:lvl1pPr>
              <a:spcAft>
                <a:spcPts val="400"/>
              </a:spcAft>
              <a:defRPr sz="1200"/>
            </a:lvl1pPr>
            <a:lvl2pPr>
              <a:spcAft>
                <a:spcPts val="400"/>
              </a:spcAft>
              <a:defRPr sz="1200"/>
            </a:lvl2pPr>
            <a:lvl3pPr>
              <a:spcAft>
                <a:spcPts val="400"/>
              </a:spcAft>
              <a:defRPr sz="1200"/>
            </a:lvl3pPr>
            <a:lvl4pPr>
              <a:spcAft>
                <a:spcPts val="400"/>
              </a:spcAft>
              <a:defRPr sz="1200"/>
            </a:lvl4pPr>
            <a:lvl5pPr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238774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2"/>
            <a:ext cx="8229600" cy="4286267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39444" y="228871"/>
            <a:ext cx="8229600" cy="478763"/>
          </a:xfrm>
        </p:spPr>
        <p:txBody>
          <a:bodyPr/>
          <a:lstStyle>
            <a:lvl1pPr>
              <a:defRPr baseline="0">
                <a:solidFill>
                  <a:srgbClr val="4A4B4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600"/>
            <a:ext cx="2895600" cy="107950"/>
          </a:xfrm>
        </p:spPr>
        <p:txBody>
          <a:bodyPr/>
          <a:lstStyle>
            <a:lvl1pPr>
              <a:defRPr>
                <a:solidFill>
                  <a:srgbClr val="F41C50"/>
                </a:solidFill>
              </a:defRPr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19340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1121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6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50818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7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2266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296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0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90500201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2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2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6445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997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1C4C5-509F-7D42-B0A0-82C6645551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007B9-8637-FE42-A75A-36AEB091D23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5616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6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588975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646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tional front sl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solidFill>
            <a:srgbClr val="1E1E1E"/>
          </a:solidFill>
        </p:spPr>
        <p:txBody>
          <a:bodyPr tIns="719877" bIns="0" anchor="ctr" anchorCtr="1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bg1"/>
                </a:solidFill>
                <a:latin typeface="Metric Light" panose="020B03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5" name="Plassholder for tekst 2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320000" y="342000"/>
            <a:ext cx="504000" cy="252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6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0270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</p:spPr>
        <p:txBody>
          <a:bodyPr anchor="t" anchorCtr="0">
            <a:norm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07"/>
            <a:ext cx="6858000" cy="215444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29"/>
            <a:ext cx="6858000" cy="246221"/>
          </a:xfrm>
        </p:spPr>
        <p:txBody>
          <a:bodyPr>
            <a:norm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NAVN NAVNESEN</a:t>
            </a:r>
          </a:p>
        </p:txBody>
      </p:sp>
      <p:sp>
        <p:nvSpPr>
          <p:cNvPr id="10" name="Plassholder for tekst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320000" y="342000"/>
            <a:ext cx="504000" cy="252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8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0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8099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1558948"/>
            <a:ext cx="6858000" cy="3368066"/>
          </a:xfrm>
        </p:spPr>
        <p:txBody>
          <a:bodyPr>
            <a:normAutofit/>
          </a:bodyPr>
          <a:lstStyle>
            <a:lvl1pPr marL="0" indent="0" algn="ctr">
              <a:spcAft>
                <a:spcPts val="1500"/>
              </a:spcAft>
              <a:buNone/>
              <a:defRPr sz="2000" cap="all" baseline="0">
                <a:solidFill>
                  <a:schemeClr val="bg1"/>
                </a:solidFill>
                <a:latin typeface="Metric Thin" panose="020B0403030202060203" pitchFamily="34" charset="0"/>
              </a:defRPr>
            </a:lvl1pPr>
          </a:lstStyle>
          <a:p>
            <a:pPr lvl="0"/>
            <a:r>
              <a:rPr lang="nb-NO" dirty="0"/>
              <a:t>TEXT</a:t>
            </a:r>
          </a:p>
        </p:txBody>
      </p:sp>
      <p:sp>
        <p:nvSpPr>
          <p:cNvPr id="4" name="TekstSylinder 3"/>
          <p:cNvSpPr txBox="1"/>
          <p:nvPr userDrawn="1"/>
        </p:nvSpPr>
        <p:spPr>
          <a:xfrm>
            <a:off x="3874107" y="937456"/>
            <a:ext cx="1395825" cy="400095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nb-NO" sz="2000" cap="all" dirty="0">
                <a:solidFill>
                  <a:prstClr val="white"/>
                </a:solidFill>
                <a:latin typeface="Metric Semibold" panose="020B0703030202060203" pitchFamily="34" charset="0"/>
              </a:rPr>
              <a:t>AGENDA</a:t>
            </a: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  <p:sp>
        <p:nvSpPr>
          <p:cNvPr id="5" name="Plassholder for dato 4"/>
          <p:cNvSpPr>
            <a:spLocks noGrp="1"/>
          </p:cNvSpPr>
          <p:nvPr>
            <p:ph type="dt" sz="half" idx="15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8"/>
          </p:nvPr>
        </p:nvSpPr>
        <p:spPr>
          <a:xfrm>
            <a:off x="3740734" y="5745226"/>
            <a:ext cx="43282" cy="65"/>
          </a:xfrm>
        </p:spPr>
        <p:txBody>
          <a:bodyPr/>
          <a:lstStyle>
            <a:lvl1pPr>
              <a:lnSpc>
                <a:spcPts val="10"/>
              </a:lnSpc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nb-NO">
                <a:solidFill>
                  <a:prstClr val="white">
                    <a:lumMod val="85000"/>
                  </a:prstClr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nb-NO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8155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623888" y="2272479"/>
            <a:ext cx="7886700" cy="430887"/>
          </a:xfrm>
        </p:spPr>
        <p:txBody>
          <a:bodyPr anchor="t" anchorCtr="0">
            <a:normAutofit/>
          </a:bodyPr>
          <a:lstStyle>
            <a:lvl1pPr algn="ctr"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23888" y="2079037"/>
            <a:ext cx="7886700" cy="246221"/>
          </a:xfrm>
        </p:spPr>
        <p:txBody>
          <a:bodyPr anchor="b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cap="all" baseline="0">
                <a:solidFill>
                  <a:schemeClr val="tx1"/>
                </a:solidFill>
                <a:latin typeface="+mn-lt"/>
              </a:defRPr>
            </a:lvl1pPr>
            <a:lvl2pPr marL="3428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0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err="1"/>
              <a:t>chapter</a:t>
            </a:r>
            <a:endParaRPr lang="nb-NO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9523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>
          <a:xfrm>
            <a:off x="8693941" y="5438014"/>
            <a:ext cx="65" cy="107722"/>
          </a:xfrm>
        </p:spPr>
        <p:txBody>
          <a:bodyPr/>
          <a:lstStyle/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23595" y="835201"/>
            <a:ext cx="6696837" cy="32316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innhold 2"/>
          <p:cNvSpPr>
            <a:spLocks noGrp="1"/>
          </p:cNvSpPr>
          <p:nvPr>
            <p:ph idx="25"/>
          </p:nvPr>
        </p:nvSpPr>
        <p:spPr>
          <a:xfrm>
            <a:off x="1223595" y="1692215"/>
            <a:ext cx="6696837" cy="35260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6" name="Rett pil 5"/>
          <p:cNvCxnSpPr/>
          <p:nvPr userDrawn="1"/>
        </p:nvCxnSpPr>
        <p:spPr>
          <a:xfrm>
            <a:off x="1223582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11"/>
          <p:cNvCxnSpPr/>
          <p:nvPr userDrawn="1"/>
        </p:nvCxnSpPr>
        <p:spPr>
          <a:xfrm rot="16200000">
            <a:off x="-126000" y="1602211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pil 14"/>
          <p:cNvCxnSpPr/>
          <p:nvPr userDrawn="1"/>
        </p:nvCxnSpPr>
        <p:spPr>
          <a:xfrm>
            <a:off x="-216000" y="5221496"/>
            <a:ext cx="180000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pil 16"/>
          <p:cNvCxnSpPr/>
          <p:nvPr userDrawn="1"/>
        </p:nvCxnSpPr>
        <p:spPr>
          <a:xfrm>
            <a:off x="7920419" y="-216000"/>
            <a:ext cx="0" cy="18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>
            <a:spLocks noChangeAspect="1"/>
          </p:cNvSpPr>
          <p:nvPr userDrawn="1"/>
        </p:nvSpPr>
        <p:spPr>
          <a:xfrm>
            <a:off x="9900000" y="1009749"/>
            <a:ext cx="864000" cy="864000"/>
          </a:xfrm>
          <a:prstGeom prst="ellipse">
            <a:avLst/>
          </a:prstGeom>
          <a:solidFill>
            <a:srgbClr val="FFDC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55/220/0</a:t>
            </a:r>
          </a:p>
        </p:txBody>
      </p:sp>
      <p:sp>
        <p:nvSpPr>
          <p:cNvPr id="25" name="Ellipse 24"/>
          <p:cNvSpPr>
            <a:spLocks noChangeAspect="1"/>
          </p:cNvSpPr>
          <p:nvPr userDrawn="1"/>
        </p:nvSpPr>
        <p:spPr>
          <a:xfrm>
            <a:off x="9900000" y="78011"/>
            <a:ext cx="864000" cy="864000"/>
          </a:xfrm>
          <a:prstGeom prst="ellipse">
            <a:avLst/>
          </a:prstGeom>
          <a:solidFill>
            <a:srgbClr val="928D8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defRPr/>
            </a:pPr>
            <a:r>
              <a:rPr lang="nb-NO" sz="800" dirty="0">
                <a:solidFill>
                  <a:prstClr val="black"/>
                </a:solidFill>
              </a:rPr>
              <a:t>146/131/137</a:t>
            </a:r>
          </a:p>
        </p:txBody>
      </p:sp>
      <p:sp>
        <p:nvSpPr>
          <p:cNvPr id="26" name="Ellipse 25"/>
          <p:cNvSpPr>
            <a:spLocks noChangeAspect="1"/>
          </p:cNvSpPr>
          <p:nvPr userDrawn="1"/>
        </p:nvSpPr>
        <p:spPr>
          <a:xfrm>
            <a:off x="9900000" y="1941487"/>
            <a:ext cx="864000" cy="864000"/>
          </a:xfrm>
          <a:prstGeom prst="ellipse">
            <a:avLst/>
          </a:prstGeom>
          <a:solidFill>
            <a:srgbClr val="CBCCC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03/204/196</a:t>
            </a:r>
          </a:p>
        </p:txBody>
      </p:sp>
      <p:sp>
        <p:nvSpPr>
          <p:cNvPr id="27" name="Ellipse 26"/>
          <p:cNvSpPr>
            <a:spLocks noChangeAspect="1"/>
          </p:cNvSpPr>
          <p:nvPr userDrawn="1"/>
        </p:nvSpPr>
        <p:spPr>
          <a:xfrm>
            <a:off x="9900000" y="2873226"/>
            <a:ext cx="864000" cy="864000"/>
          </a:xfrm>
          <a:prstGeom prst="ellipse">
            <a:avLst/>
          </a:prstGeom>
          <a:solidFill>
            <a:srgbClr val="00B6C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0/182/202</a:t>
            </a:r>
          </a:p>
        </p:txBody>
      </p:sp>
      <p:sp>
        <p:nvSpPr>
          <p:cNvPr id="28" name="Ellipse 27"/>
          <p:cNvSpPr>
            <a:spLocks noChangeAspect="1"/>
          </p:cNvSpPr>
          <p:nvPr userDrawn="1"/>
        </p:nvSpPr>
        <p:spPr>
          <a:xfrm>
            <a:off x="9900000" y="3804962"/>
            <a:ext cx="864000" cy="864000"/>
          </a:xfrm>
          <a:prstGeom prst="ellipse">
            <a:avLst/>
          </a:prstGeom>
          <a:solidFill>
            <a:srgbClr val="F41C5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244/28/80</a:t>
            </a:r>
          </a:p>
        </p:txBody>
      </p:sp>
      <p:sp>
        <p:nvSpPr>
          <p:cNvPr id="29" name="Ellipse 28"/>
          <p:cNvSpPr>
            <a:spLocks noChangeAspect="1"/>
          </p:cNvSpPr>
          <p:nvPr userDrawn="1"/>
        </p:nvSpPr>
        <p:spPr>
          <a:xfrm>
            <a:off x="9900000" y="4736700"/>
            <a:ext cx="864000" cy="864000"/>
          </a:xfrm>
          <a:prstGeom prst="ellipse">
            <a:avLst/>
          </a:prstGeom>
          <a:solidFill>
            <a:srgbClr val="A002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nb-NO" sz="800" dirty="0">
                <a:solidFill>
                  <a:prstClr val="black"/>
                </a:solidFill>
              </a:rPr>
              <a:t>160/2/90</a:t>
            </a:r>
          </a:p>
        </p:txBody>
      </p:sp>
    </p:spTree>
    <p:extLst>
      <p:ext uri="{BB962C8B-B14F-4D97-AF65-F5344CB8AC3E}">
        <p14:creationId xmlns:p14="http://schemas.microsoft.com/office/powerpoint/2010/main" val="38868299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bg>
      <p:bgPr>
        <a:solidFill>
          <a:srgbClr val="1E1E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2313816"/>
            <a:ext cx="6858000" cy="369332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ctr">
              <a:defRPr sz="240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136113"/>
            <a:ext cx="6858000" cy="21544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  <a:latin typeface="Metric Semibold" panose="020B0703030202060203" pitchFamily="34" charset="0"/>
              </a:defRPr>
            </a:lvl1pPr>
            <a:lvl2pPr marL="342843" indent="0" algn="ctr">
              <a:buNone/>
              <a:defRPr sz="1500"/>
            </a:lvl2pPr>
            <a:lvl3pPr marL="685681" indent="0" algn="ctr">
              <a:buNone/>
              <a:defRPr sz="1400"/>
            </a:lvl3pPr>
            <a:lvl4pPr marL="1028525" indent="0" algn="ctr">
              <a:buNone/>
              <a:defRPr sz="1200"/>
            </a:lvl4pPr>
            <a:lvl5pPr marL="1371368" indent="0" algn="ctr">
              <a:buNone/>
              <a:defRPr sz="1200"/>
            </a:lvl5pPr>
            <a:lvl6pPr marL="1714206" indent="0" algn="ctr">
              <a:buNone/>
              <a:defRPr sz="1200"/>
            </a:lvl6pPr>
            <a:lvl7pPr marL="2057050" indent="0" algn="ctr">
              <a:buNone/>
              <a:defRPr sz="1200"/>
            </a:lvl7pPr>
            <a:lvl8pPr marL="2399889" indent="0" algn="ctr">
              <a:buNone/>
              <a:defRPr sz="1200"/>
            </a:lvl8pPr>
            <a:lvl9pPr marL="27427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43000" y="2970135"/>
            <a:ext cx="685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600" cap="all" baseline="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pPr lvl="0"/>
            <a:r>
              <a:rPr lang="nb-NO" dirty="0"/>
              <a:t>Speaker / Date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7000" y="162262"/>
            <a:ext cx="270000" cy="144000"/>
          </a:xfrm>
          <a:prstGeom prst="rect">
            <a:avLst/>
          </a:prstGeom>
        </p:spPr>
      </p:pic>
      <p:sp>
        <p:nvSpPr>
          <p:cNvPr id="8" name="Plassholder for bunntekst 4"/>
          <p:cNvSpPr txBox="1">
            <a:spLocks/>
          </p:cNvSpPr>
          <p:nvPr userDrawn="1"/>
        </p:nvSpPr>
        <p:spPr>
          <a:xfrm>
            <a:off x="111760" y="5394344"/>
            <a:ext cx="2252254" cy="246207"/>
          </a:xfrm>
          <a:prstGeom prst="rect">
            <a:avLst/>
          </a:prstGeom>
        </p:spPr>
        <p:txBody>
          <a:bodyPr lIns="91426" tIns="45713" rIns="91426" bIns="45713">
            <a:spAutoFit/>
          </a:bodyPr>
          <a:lstStyle>
            <a:defPPr>
              <a:defRPr lang="nb-NO"/>
            </a:defPPr>
            <a:lvl1pPr marL="0" algn="l" defTabSz="713232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F41C50"/>
                </a:solidFill>
              </a:rPr>
              <a:t>Private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8305238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1600" y="228871"/>
            <a:ext cx="7715200" cy="768429"/>
          </a:xfrm>
        </p:spPr>
        <p:txBody>
          <a:bodyPr>
            <a:normAutofit/>
          </a:bodyPr>
          <a:lstStyle>
            <a:lvl1pPr algn="l">
              <a:defRPr lang="nb-NO" sz="3400" b="1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338163" y="5438014"/>
            <a:ext cx="355867" cy="107722"/>
          </a:xfrm>
        </p:spPr>
        <p:txBody>
          <a:bodyPr/>
          <a:lstStyle/>
          <a:p>
            <a:fld id="{24F12A1F-98B1-47AF-8CC9-1A9A109603EC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1.10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527126" y="5438964"/>
            <a:ext cx="89769" cy="107722"/>
          </a:xfrm>
        </p:spPr>
        <p:txBody>
          <a:bodyPr/>
          <a:lstStyle/>
          <a:p>
            <a:fld id="{8C580E75-D834-40A0-A92C-689371DAF62B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117315"/>
            <a:ext cx="8229600" cy="3987829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8240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52505"/>
            <a:ext cx="8229600" cy="4286267"/>
          </a:xfrm>
        </p:spPr>
        <p:txBody>
          <a:bodyPr/>
          <a:lstStyle>
            <a:lvl1pPr>
              <a:defRPr sz="1600" baseline="0">
                <a:solidFill>
                  <a:srgbClr val="4A4B4F"/>
                </a:solidFill>
              </a:defRPr>
            </a:lvl1pPr>
            <a:lvl2pPr>
              <a:defRPr sz="1400" baseline="0">
                <a:solidFill>
                  <a:srgbClr val="4A4B4F"/>
                </a:solidFill>
              </a:defRPr>
            </a:lvl2pPr>
            <a:lvl3pPr>
              <a:defRPr sz="1200" baseline="0">
                <a:solidFill>
                  <a:srgbClr val="4A4B4F"/>
                </a:solidFill>
              </a:defRPr>
            </a:lvl3pPr>
            <a:lvl4pPr>
              <a:defRPr sz="1100" baseline="0">
                <a:solidFill>
                  <a:srgbClr val="4A4B4F"/>
                </a:solidFill>
              </a:defRPr>
            </a:lvl4pPr>
            <a:lvl5pPr>
              <a:defRPr sz="1100" baseline="0">
                <a:solidFill>
                  <a:srgbClr val="4A4B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71600" y="228866"/>
            <a:ext cx="7697444" cy="664104"/>
          </a:xfrm>
        </p:spPr>
        <p:txBody>
          <a:bodyPr>
            <a:noAutofit/>
          </a:bodyPr>
          <a:lstStyle>
            <a:lvl1pPr algn="l">
              <a:defRPr lang="nb-NO" sz="3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5435584"/>
            <a:ext cx="2895600" cy="10772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688" y="191903"/>
            <a:ext cx="567896" cy="86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430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oleObject" Target="../embeddings/oleObject11.bin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ags" Target="../tags/tag12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vmlDrawing" Target="../drawings/vmlDrawing11.v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22.png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image" Target="../media/image8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105.xml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1.xml"/><Relationship Id="rId14" Type="http://schemas.openxmlformats.org/officeDocument/2006/relationships/image" Target="../media/image2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13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oleObject" Target="../embeddings/oleObject13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image" Target="../media/image11.emf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120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vmlDrawing" Target="../drawings/vmlDrawing14.vml"/><Relationship Id="rId10" Type="http://schemas.openxmlformats.org/officeDocument/2006/relationships/slideLayout" Target="../slideLayouts/slideLayout12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theme" Target="../theme/theme1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133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vmlDrawing" Target="../drawings/vmlDrawing15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tags" Target="../tags/tag17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vmlDrawing" Target="../drawings/vmlDrawing16.vml"/><Relationship Id="rId2" Type="http://schemas.openxmlformats.org/officeDocument/2006/relationships/slideLayout" Target="../slideLayouts/slideLayout14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4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oleObject" Target="../embeddings/oleObject16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theme" Target="../theme/theme1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5.xml"/><Relationship Id="rId16" Type="http://schemas.openxmlformats.org/officeDocument/2006/relationships/oleObject" Target="../embeddings/oleObject17.bin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vmlDrawing" Target="../drawings/vmlDrawing17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vmlDrawing" Target="../drawings/vmlDrawing18.vml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85.xml"/><Relationship Id="rId29" Type="http://schemas.openxmlformats.org/officeDocument/2006/relationships/image" Target="../media/image26.png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24" Type="http://schemas.openxmlformats.org/officeDocument/2006/relationships/theme" Target="../theme/theme17.xml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image" Target="../media/image14.emf"/><Relationship Id="rId10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oleObject" Target="../embeddings/oleObject18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ags" Target="../tags/tag29.xml"/><Relationship Id="rId2" Type="http://schemas.openxmlformats.org/officeDocument/2006/relationships/slideLayout" Target="../slideLayouts/slideLayout19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vmlDrawing" Target="../drawings/vmlDrawing28.v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9.png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14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oleObject" Target="../embeddings/oleObject28.bin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02.xml"/><Relationship Id="rId10" Type="http://schemas.openxmlformats.org/officeDocument/2006/relationships/vmlDrawing" Target="../drawings/vmlDrawing29.vml"/><Relationship Id="rId4" Type="http://schemas.openxmlformats.org/officeDocument/2006/relationships/slideLayout" Target="../slideLayouts/slideLayout201.xml"/><Relationship Id="rId9" Type="http://schemas.openxmlformats.org/officeDocument/2006/relationships/theme" Target="../theme/theme1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1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3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20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vmlDrawing" Target="../drawings/vmlDrawing30.vml"/><Relationship Id="rId2" Type="http://schemas.openxmlformats.org/officeDocument/2006/relationships/slideLayout" Target="../slideLayouts/slideLayout207.xml"/><Relationship Id="rId16" Type="http://schemas.openxmlformats.org/officeDocument/2006/relationships/theme" Target="../theme/theme2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15.xml"/><Relationship Id="rId19" Type="http://schemas.openxmlformats.org/officeDocument/2006/relationships/oleObject" Target="../embeddings/oleObject29.bin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theme" Target="../theme/theme21.xml"/><Relationship Id="rId5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33.xml"/><Relationship Id="rId7" Type="http://schemas.openxmlformats.org/officeDocument/2006/relationships/slideLayout" Target="../slideLayouts/slideLayout237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5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244.xml"/><Relationship Id="rId21" Type="http://schemas.openxmlformats.org/officeDocument/2006/relationships/image" Target="../media/image33.emf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vmlDrawing" Target="../drawings/vmlDrawing34.vml"/><Relationship Id="rId2" Type="http://schemas.openxmlformats.org/officeDocument/2006/relationships/slideLayout" Target="../slideLayouts/slideLayout243.xml"/><Relationship Id="rId16" Type="http://schemas.openxmlformats.org/officeDocument/2006/relationships/theme" Target="../theme/theme2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51.xml"/><Relationship Id="rId19" Type="http://schemas.openxmlformats.org/officeDocument/2006/relationships/oleObject" Target="../embeddings/oleObject31.bin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45.xml"/><Relationship Id="rId5" Type="http://schemas.openxmlformats.org/officeDocument/2006/relationships/slideLayout" Target="../slideLayouts/slideLayout261.xml"/><Relationship Id="rId10" Type="http://schemas.openxmlformats.org/officeDocument/2006/relationships/vmlDrawing" Target="../drawings/vmlDrawing44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24.xml"/><Relationship Id="rId14" Type="http://schemas.openxmlformats.org/officeDocument/2006/relationships/image" Target="../media/image33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theme" Target="../theme/theme2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266.xml"/><Relationship Id="rId16" Type="http://schemas.openxmlformats.org/officeDocument/2006/relationships/oleObject" Target="../embeddings/oleObject43.bin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5" Type="http://schemas.openxmlformats.org/officeDocument/2006/relationships/tags" Target="../tags/tag47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vmlDrawing" Target="../drawings/vmlDrawing46.v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heme" Target="../theme/theme26.xml"/><Relationship Id="rId13" Type="http://schemas.openxmlformats.org/officeDocument/2006/relationships/image" Target="../media/image33.emf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oleObject" Target="../embeddings/oleObject45.bin"/><Relationship Id="rId5" Type="http://schemas.openxmlformats.org/officeDocument/2006/relationships/slideLayout" Target="../slideLayouts/slideLayout281.xml"/><Relationship Id="rId10" Type="http://schemas.openxmlformats.org/officeDocument/2006/relationships/tags" Target="../tags/tag49.xml"/><Relationship Id="rId4" Type="http://schemas.openxmlformats.org/officeDocument/2006/relationships/slideLayout" Target="../slideLayouts/slideLayout280.xml"/><Relationship Id="rId9" Type="http://schemas.openxmlformats.org/officeDocument/2006/relationships/vmlDrawing" Target="../drawings/vmlDrawing48.v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tags" Target="../tags/tag51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vmlDrawing" Target="../drawings/vmlDrawing50.vml"/><Relationship Id="rId2" Type="http://schemas.openxmlformats.org/officeDocument/2006/relationships/slideLayout" Target="../slideLayouts/slideLayout28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theme" Target="../theme/theme27.xml"/><Relationship Id="rId5" Type="http://schemas.openxmlformats.org/officeDocument/2006/relationships/slideLayout" Target="../slideLayouts/slideLayout28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oleObject" Target="../embeddings/oleObject47.bin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tags" Target="../tags/tag53.xml"/><Relationship Id="rId3" Type="http://schemas.openxmlformats.org/officeDocument/2006/relationships/slideLayout" Target="../slideLayouts/slideLayout296.xml"/><Relationship Id="rId7" Type="http://schemas.openxmlformats.org/officeDocument/2006/relationships/slideLayout" Target="../slideLayouts/slideLayout300.xml"/><Relationship Id="rId12" Type="http://schemas.openxmlformats.org/officeDocument/2006/relationships/vmlDrawing" Target="../drawings/vmlDrawing52.vml"/><Relationship Id="rId2" Type="http://schemas.openxmlformats.org/officeDocument/2006/relationships/slideLayout" Target="../slideLayouts/slideLayout29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theme" Target="../theme/theme28.xml"/><Relationship Id="rId5" Type="http://schemas.openxmlformats.org/officeDocument/2006/relationships/slideLayout" Target="../slideLayouts/slideLayout298.xml"/><Relationship Id="rId15" Type="http://schemas.openxmlformats.org/officeDocument/2006/relationships/image" Target="../media/image34.emf"/><Relationship Id="rId10" Type="http://schemas.openxmlformats.org/officeDocument/2006/relationships/slideLayout" Target="../slideLayouts/slideLayout303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oleObject" Target="../embeddings/oleObject49.bin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vmlDrawing" Target="../drawings/vmlDrawing59.vml"/><Relationship Id="rId3" Type="http://schemas.openxmlformats.org/officeDocument/2006/relationships/slideLayout" Target="../slideLayouts/slideLayout30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theme" Target="../theme/theme29.xml"/><Relationship Id="rId2" Type="http://schemas.openxmlformats.org/officeDocument/2006/relationships/slideLayout" Target="../slideLayouts/slideLayout305.xml"/><Relationship Id="rId16" Type="http://schemas.openxmlformats.org/officeDocument/2006/relationships/slideLayout" Target="../slideLayouts/slideLayout319.xml"/><Relationship Id="rId20" Type="http://schemas.openxmlformats.org/officeDocument/2006/relationships/oleObject" Target="../embeddings/oleObject56.bin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slideLayout" Target="../slideLayouts/slideLayout318.xml"/><Relationship Id="rId10" Type="http://schemas.openxmlformats.org/officeDocument/2006/relationships/slideLayout" Target="../slideLayouts/slideLayout313.xml"/><Relationship Id="rId19" Type="http://schemas.openxmlformats.org/officeDocument/2006/relationships/tags" Target="../tags/tag60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slideLayout" Target="../slideLayouts/slideLayout317.xml"/><Relationship Id="rId22" Type="http://schemas.openxmlformats.org/officeDocument/2006/relationships/image" Target="../media/image3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9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4.emf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heme" Target="../theme/theme3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22.xml"/><Relationship Id="rId7" Type="http://schemas.openxmlformats.org/officeDocument/2006/relationships/slideLayout" Target="../slideLayouts/slideLayout32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21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oleObject" Target="../embeddings/oleObject47.bin"/><Relationship Id="rId5" Type="http://schemas.openxmlformats.org/officeDocument/2006/relationships/slideLayout" Target="../slideLayouts/slideLayout324.xml"/><Relationship Id="rId10" Type="http://schemas.openxmlformats.org/officeDocument/2006/relationships/tags" Target="../tags/tag70.xml"/><Relationship Id="rId4" Type="http://schemas.openxmlformats.org/officeDocument/2006/relationships/slideLayout" Target="../slideLayouts/slideLayout323.xml"/><Relationship Id="rId9" Type="http://schemas.openxmlformats.org/officeDocument/2006/relationships/vmlDrawing" Target="../drawings/vmlDrawing69.v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theme" Target="../theme/theme31.xml"/><Relationship Id="rId13" Type="http://schemas.openxmlformats.org/officeDocument/2006/relationships/image" Target="../media/image33.emf"/><Relationship Id="rId3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3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28.xml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oleObject" Target="../embeddings/oleObject45.bin"/><Relationship Id="rId5" Type="http://schemas.openxmlformats.org/officeDocument/2006/relationships/slideLayout" Target="../slideLayouts/slideLayout331.xml"/><Relationship Id="rId10" Type="http://schemas.openxmlformats.org/officeDocument/2006/relationships/tags" Target="../tags/tag71.xml"/><Relationship Id="rId4" Type="http://schemas.openxmlformats.org/officeDocument/2006/relationships/slideLayout" Target="../slideLayouts/slideLayout330.xml"/><Relationship Id="rId9" Type="http://schemas.openxmlformats.org/officeDocument/2006/relationships/vmlDrawing" Target="../drawings/vmlDrawing70.v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1.xml"/><Relationship Id="rId13" Type="http://schemas.openxmlformats.org/officeDocument/2006/relationships/theme" Target="../theme/theme3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36.xml"/><Relationship Id="rId7" Type="http://schemas.openxmlformats.org/officeDocument/2006/relationships/slideLayout" Target="../slideLayouts/slideLayout340.xml"/><Relationship Id="rId12" Type="http://schemas.openxmlformats.org/officeDocument/2006/relationships/slideLayout" Target="../slideLayouts/slideLayout345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335.xml"/><Relationship Id="rId16" Type="http://schemas.openxmlformats.org/officeDocument/2006/relationships/oleObject" Target="../embeddings/oleObject66.bin"/><Relationship Id="rId1" Type="http://schemas.openxmlformats.org/officeDocument/2006/relationships/slideLayout" Target="../slideLayouts/slideLayout334.xml"/><Relationship Id="rId6" Type="http://schemas.openxmlformats.org/officeDocument/2006/relationships/slideLayout" Target="../slideLayouts/slideLayout339.xml"/><Relationship Id="rId11" Type="http://schemas.openxmlformats.org/officeDocument/2006/relationships/slideLayout" Target="../slideLayouts/slideLayout344.xml"/><Relationship Id="rId5" Type="http://schemas.openxmlformats.org/officeDocument/2006/relationships/slideLayout" Target="../slideLayouts/slideLayout338.xml"/><Relationship Id="rId15" Type="http://schemas.openxmlformats.org/officeDocument/2006/relationships/tags" Target="../tags/tag73.xml"/><Relationship Id="rId10" Type="http://schemas.openxmlformats.org/officeDocument/2006/relationships/slideLayout" Target="../slideLayouts/slideLayout343.xml"/><Relationship Id="rId4" Type="http://schemas.openxmlformats.org/officeDocument/2006/relationships/slideLayout" Target="../slideLayouts/slideLayout337.xml"/><Relationship Id="rId9" Type="http://schemas.openxmlformats.org/officeDocument/2006/relationships/slideLayout" Target="../slideLayouts/slideLayout342.xml"/><Relationship Id="rId14" Type="http://schemas.openxmlformats.org/officeDocument/2006/relationships/vmlDrawing" Target="../drawings/vmlDrawing7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22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2.pn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22.pn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vmlDrawing" Target="../drawings/vmlDrawing9.v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vmlDrawing" Target="../drawings/vmlDrawing10.v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2.pn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12798107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622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49" r:id="rId2"/>
    <p:sldLayoutId id="2147483658" r:id="rId3"/>
    <p:sldLayoutId id="2147483677" r:id="rId4"/>
    <p:sldLayoutId id="2147483757" r:id="rId5"/>
    <p:sldLayoutId id="2147484039" r:id="rId6"/>
    <p:sldLayoutId id="2147484057" r:id="rId7"/>
    <p:sldLayoutId id="2147484059" r:id="rId8"/>
    <p:sldLayoutId id="2147484080" r:id="rId9"/>
    <p:sldLayoutId id="2147484081" r:id="rId10"/>
    <p:sldLayoutId id="2147484097" r:id="rId11"/>
    <p:sldLayoutId id="2147484098" r:id="rId12"/>
    <p:sldLayoutId id="2147484102" r:id="rId13"/>
    <p:sldLayoutId id="2147484387" r:id="rId14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37122757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59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8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33144551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1" r:id="rId8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03885736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200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400"/>
            <a:ext cx="8211600" cy="35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6" y="5439600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960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9600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05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69893755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200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400"/>
            <a:ext cx="8211600" cy="35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6" y="5439600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960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9600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453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70" r:id="rId11"/>
    <p:sldLayoutId id="2147483971" r:id="rId12"/>
    <p:sldLayoutId id="2147483972" r:id="rId13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58868561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200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400"/>
            <a:ext cx="8211600" cy="35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6" y="5439600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960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9600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9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4" r:id="rId11"/>
    <p:sldLayoutId id="2147484056" r:id="rId12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664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7" r:id="rId10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655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1" r:id="rId8"/>
    <p:sldLayoutId id="2147484092" r:id="rId9"/>
    <p:sldLayoutId id="2147484093" r:id="rId10"/>
    <p:sldLayoutId id="2147484094" r:id="rId11"/>
    <p:sldLayoutId id="2147484095" r:id="rId12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251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  <p:sldLayoutId id="2147484106" r:id="rId2"/>
    <p:sldLayoutId id="2147484107" r:id="rId3"/>
    <p:sldLayoutId id="2147484108" r:id="rId4"/>
    <p:sldLayoutId id="2147484109" r:id="rId5"/>
    <p:sldLayoutId id="2147484110" r:id="rId6"/>
    <p:sldLayoutId id="2147484111" r:id="rId7"/>
    <p:sldLayoutId id="2147484112" r:id="rId8"/>
    <p:sldLayoutId id="2147484113" r:id="rId9"/>
    <p:sldLayoutId id="2147484114" r:id="rId10"/>
    <p:sldLayoutId id="2147484115" r:id="rId11"/>
    <p:sldLayoutId id="2147484116" r:id="rId12"/>
    <p:sldLayoutId id="2147484117" r:id="rId13"/>
    <p:sldLayoutId id="2147484118" r:id="rId14"/>
    <p:sldLayoutId id="2147484119" r:id="rId15"/>
    <p:sldLayoutId id="2147484120" r:id="rId16"/>
    <p:sldLayoutId id="2147484121" r:id="rId17"/>
    <p:sldLayoutId id="2147484122" r:id="rId18"/>
    <p:sldLayoutId id="2147484123" r:id="rId19"/>
    <p:sldLayoutId id="2147484125" r:id="rId20"/>
    <p:sldLayoutId id="2147484126" r:id="rId21"/>
    <p:sldLayoutId id="2147484127" r:id="rId22"/>
    <p:sldLayoutId id="2147484128" r:id="rId23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0"/>
            <a:ext cx="9143999" cy="5715000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200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400"/>
            <a:ext cx="8211600" cy="35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9600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960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9600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40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bg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bg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bg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005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9" r:id="rId7"/>
    <p:sldLayoutId id="2147484150" r:id="rId8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5349495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200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400"/>
            <a:ext cx="8211600" cy="35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9600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960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9600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994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6" r:id="rId7"/>
    <p:sldLayoutId id="2147484031" r:id="rId8"/>
    <p:sldLayoutId id="2147484032" r:id="rId9"/>
    <p:sldLayoutId id="2147484033" r:id="rId10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2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7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33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  <p:sldLayoutId id="2147484157" r:id="rId6"/>
    <p:sldLayoutId id="2147484158" r:id="rId7"/>
    <p:sldLayoutId id="2147484160" r:id="rId8"/>
    <p:sldLayoutId id="2147484161" r:id="rId9"/>
    <p:sldLayoutId id="2147484162" r:id="rId10"/>
    <p:sldLayoutId id="2147484163" r:id="rId11"/>
    <p:sldLayoutId id="2147484164" r:id="rId12"/>
    <p:sldLayoutId id="2147484167" r:id="rId13"/>
    <p:sldLayoutId id="2147484168" r:id="rId14"/>
    <p:sldLayoutId id="2147484169" r:id="rId15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576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6" y="5443402"/>
            <a:ext cx="65" cy="969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63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43876"/>
            <a:ext cx="2252254" cy="969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63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3761" y="5444350"/>
            <a:ext cx="256480" cy="969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63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819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</p:sldLayoutIdLst>
  <p:hf hdr="0" dt="0"/>
  <p:txStyles>
    <p:titleStyle>
      <a:lvl1pPr algn="ctr" defTabSz="617220" rtl="0" eaLnBrk="1" latinLnBrk="0" hangingPunct="1">
        <a:lnSpc>
          <a:spcPct val="100000"/>
        </a:lnSpc>
        <a:spcBef>
          <a:spcPct val="0"/>
        </a:spcBef>
        <a:buNone/>
        <a:defRPr sz="189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972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170" kern="1200">
          <a:solidFill>
            <a:schemeClr val="tx1"/>
          </a:solidFill>
          <a:latin typeface="+mn-lt"/>
          <a:ea typeface="+mn-ea"/>
          <a:cs typeface="+mn-cs"/>
        </a:defRPr>
      </a:lvl1pPr>
      <a:lvl2pPr marL="4536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99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3pPr>
      <a:lvl4pPr marL="8424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4pPr>
      <a:lvl5pPr marL="10368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1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51" y="5443402"/>
            <a:ext cx="65" cy="969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63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pPr defTabSz="641909"/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43876"/>
            <a:ext cx="2252254" cy="969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63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pPr defTabSz="641909"/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3773" y="5444350"/>
            <a:ext cx="256481" cy="969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63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pPr defTabSz="641909"/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 defTabSz="641909"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5" name="Bilde 10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72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  <p:sldLayoutId id="2147484198" r:id="rId2"/>
    <p:sldLayoutId id="2147484199" r:id="rId3"/>
    <p:sldLayoutId id="2147484200" r:id="rId4"/>
    <p:sldLayoutId id="2147484201" r:id="rId5"/>
    <p:sldLayoutId id="2147484202" r:id="rId6"/>
    <p:sldLayoutId id="2147484203" r:id="rId7"/>
    <p:sldLayoutId id="2147484204" r:id="rId8"/>
    <p:sldLayoutId id="2147484205" r:id="rId9"/>
    <p:sldLayoutId id="2147484206" r:id="rId10"/>
    <p:sldLayoutId id="2147484207" r:id="rId11"/>
    <p:sldLayoutId id="2147484208" r:id="rId12"/>
    <p:sldLayoutId id="2147484209" r:id="rId13"/>
    <p:sldLayoutId id="2147484210" r:id="rId14"/>
    <p:sldLayoutId id="2147484211" r:id="rId15"/>
  </p:sldLayoutIdLst>
  <p:hf hdr="0" dt="0"/>
  <p:txStyles>
    <p:titleStyle>
      <a:lvl1pPr algn="ctr" defTabSz="617220" rtl="0" eaLnBrk="1" latinLnBrk="0" hangingPunct="1">
        <a:lnSpc>
          <a:spcPct val="100000"/>
        </a:lnSpc>
        <a:spcBef>
          <a:spcPct val="0"/>
        </a:spcBef>
        <a:buNone/>
        <a:defRPr sz="189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972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170" kern="1200">
          <a:solidFill>
            <a:schemeClr val="tx1"/>
          </a:solidFill>
          <a:latin typeface="+mn-lt"/>
          <a:ea typeface="+mn-ea"/>
          <a:cs typeface="+mn-cs"/>
        </a:defRPr>
      </a:lvl1pPr>
      <a:lvl2pPr marL="4536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99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3pPr>
      <a:lvl4pPr marL="8424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4pPr>
      <a:lvl5pPr marL="10368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0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660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4" r:id="rId1"/>
    <p:sldLayoutId id="2147484215" r:id="rId2"/>
    <p:sldLayoutId id="2147484216" r:id="rId3"/>
    <p:sldLayoutId id="2147484217" r:id="rId4"/>
    <p:sldLayoutId id="2147484218" r:id="rId5"/>
    <p:sldLayoutId id="2147484219" r:id="rId6"/>
    <p:sldLayoutId id="2147484220" r:id="rId7"/>
    <p:sldLayoutId id="2147484221" r:id="rId8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34D95E-8838-48A7-99B5-E10FC06A08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34D95E-8838-48A7-99B5-E10FC06A08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18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0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9" r:id="rId1"/>
    <p:sldLayoutId id="2147484240" r:id="rId2"/>
    <p:sldLayoutId id="2147484241" r:id="rId3"/>
    <p:sldLayoutId id="2147484243" r:id="rId4"/>
    <p:sldLayoutId id="2147484245" r:id="rId5"/>
    <p:sldLayoutId id="2147484246" r:id="rId6"/>
    <p:sldLayoutId id="2147484247" r:id="rId7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49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Slide" r:id="rId14" imgW="493" imgH="493" progId="TCLayout.ActiveDocument.1">
                  <p:embed/>
                </p:oleObj>
              </mc:Choice>
              <mc:Fallback>
                <p:oleObj name="think-cell Slide" r:id="rId14" imgW="493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681169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telstil</a:t>
            </a:r>
            <a:endParaRPr lang="en-US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ekststi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len</a:t>
            </a:r>
            <a:endParaRPr lang="en-US" dirty="0"/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en-US" dirty="0"/>
              <a:t>Private &amp; Confidentia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06089" y="5438964"/>
            <a:ext cx="331822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en-US" dirty="0"/>
              <a:t>Page </a:t>
            </a:r>
            <a:fld id="{C73A977F-1452-4597-9E9D-AEC002F918F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292762"/>
            <a:ext cx="504000" cy="252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5634111"/>
            <a:ext cx="9144000" cy="87923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195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3" r:id="rId9"/>
    <p:sldLayoutId id="2147484286" r:id="rId10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10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91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501650"/>
            <a:ext cx="8211600" cy="65743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51" y="5443402"/>
            <a:ext cx="65" cy="969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63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pPr defTabSz="641909"/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43876"/>
            <a:ext cx="2252254" cy="969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63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pPr defTabSz="641909"/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3773" y="5444350"/>
            <a:ext cx="256481" cy="969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63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pPr defTabSz="641909"/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 defTabSz="641909"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5" name="Bilde 10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1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4306" r:id="rId2"/>
    <p:sldLayoutId id="2147484307" r:id="rId3"/>
    <p:sldLayoutId id="2147484308" r:id="rId4"/>
    <p:sldLayoutId id="2147484309" r:id="rId5"/>
    <p:sldLayoutId id="2147484310" r:id="rId6"/>
    <p:sldLayoutId id="2147484311" r:id="rId7"/>
    <p:sldLayoutId id="2147484312" r:id="rId8"/>
    <p:sldLayoutId id="2147484313" r:id="rId9"/>
    <p:sldLayoutId id="2147484314" r:id="rId10"/>
    <p:sldLayoutId id="2147484315" r:id="rId11"/>
    <p:sldLayoutId id="2147484316" r:id="rId12"/>
    <p:sldLayoutId id="2147484317" r:id="rId13"/>
    <p:sldLayoutId id="2147484318" r:id="rId14"/>
    <p:sldLayoutId id="2147484319" r:id="rId15"/>
    <p:sldLayoutId id="2147484321" r:id="rId16"/>
  </p:sldLayoutIdLst>
  <p:hf hdr="0" dt="0"/>
  <p:txStyles>
    <p:titleStyle>
      <a:lvl1pPr algn="ctr" defTabSz="617220" rtl="0" eaLnBrk="1" latinLnBrk="0" hangingPunct="1">
        <a:lnSpc>
          <a:spcPct val="100000"/>
        </a:lnSpc>
        <a:spcBef>
          <a:spcPct val="0"/>
        </a:spcBef>
        <a:buNone/>
        <a:defRPr sz="189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972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170" kern="1200">
          <a:solidFill>
            <a:schemeClr val="tx1"/>
          </a:solidFill>
          <a:latin typeface="+mn-lt"/>
          <a:ea typeface="+mn-ea"/>
          <a:cs typeface="+mn-cs"/>
        </a:defRPr>
      </a:lvl1pPr>
      <a:lvl2pPr marL="4536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99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3pPr>
      <a:lvl4pPr marL="8424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4pPr>
      <a:lvl5pPr marL="1036800" indent="-97200" algn="l" defTabSz="617220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−"/>
        <a:defRPr sz="720" kern="1200">
          <a:solidFill>
            <a:schemeClr val="tx1"/>
          </a:solidFill>
          <a:latin typeface="+mn-lt"/>
          <a:ea typeface="+mn-ea"/>
          <a:cs typeface="+mn-cs"/>
        </a:defRPr>
      </a:lvl5pPr>
      <a:lvl6pPr marL="169735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31457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623185" indent="-154305" algn="l" defTabSz="617220" rtl="0" eaLnBrk="1" latinLnBrk="0" hangingPunct="1">
        <a:lnSpc>
          <a:spcPct val="90000"/>
        </a:lnSpc>
        <a:spcBef>
          <a:spcPts val="338"/>
        </a:spcBef>
        <a:buFont typeface="Arial" panose="020B0604020202020204" pitchFamily="34" charset="0"/>
        <a:buChar char="•"/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2pPr>
      <a:lvl3pPr marL="61722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3pPr>
      <a:lvl4pPr marL="92583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4pPr>
      <a:lvl5pPr marL="123444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5pPr>
      <a:lvl6pPr marL="154305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6pPr>
      <a:lvl7pPr marL="185166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7pPr>
      <a:lvl8pPr marL="216027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algn="l" defTabSz="617220" rtl="0" eaLnBrk="1" latinLnBrk="0" hangingPunct="1">
        <a:defRPr sz="1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4963042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" y="0"/>
            <a:ext cx="9143999" cy="5715000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200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400"/>
            <a:ext cx="8211600" cy="352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9600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960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 dirty="0"/>
              <a:t>Private &amp; </a:t>
            </a:r>
            <a:r>
              <a:rPr lang="nb-NO" dirty="0" err="1"/>
              <a:t>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9600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bg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 dirty="0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85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4" r:id="rId4"/>
    <p:sldLayoutId id="2147483755" r:id="rId5"/>
    <p:sldLayoutId id="2147483756" r:id="rId6"/>
    <p:sldLayoutId id="2147484002" r:id="rId7"/>
    <p:sldLayoutId id="2147484034" r:id="rId8"/>
    <p:sldLayoutId id="2147484035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bg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bg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bg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309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  <p:sldLayoutId id="2147484327" r:id="rId5"/>
    <p:sldLayoutId id="2147484328" r:id="rId6"/>
    <p:sldLayoutId id="2147484329" r:id="rId7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2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8497" y="324040"/>
            <a:ext cx="1154991" cy="28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679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7" r:id="rId6"/>
    <p:sldLayoutId id="2147484358" r:id="rId7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593A8C3-A75B-407F-BCFC-2515E8FB9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593A8C3-A75B-407F-BCFC-2515E8FB9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7"/>
            <a:ext cx="8211600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0999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35" y="5438016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rivate &amp; Confidentia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45363" y="5438964"/>
            <a:ext cx="2532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974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2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</p:sldLayoutIdLst>
  <p:hf hd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108000" algn="l" defTabSz="6858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87096066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337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7" r:id="rId7"/>
    <p:sldLayoutId id="2147483779" r:id="rId8"/>
    <p:sldLayoutId id="2147484212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81414346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921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4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19328159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643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2" r:id="rId7"/>
    <p:sldLayoutId id="2147483813" r:id="rId8"/>
    <p:sldLayoutId id="2147483814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42406906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141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9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06271552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48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4" r:id="rId6"/>
    <p:sldLayoutId id="2147483846" r:id="rId7"/>
    <p:sldLayoutId id="2147483847" r:id="rId8"/>
    <p:sldLayoutId id="2147483848" r:id="rId9"/>
    <p:sldLayoutId id="2147483850" r:id="rId10"/>
    <p:sldLayoutId id="2147483853" r:id="rId11"/>
    <p:sldLayoutId id="2147483922" r:id="rId12"/>
    <p:sldLayoutId id="2147484036" r:id="rId13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56068805"/>
              </p:ext>
            </p:extLst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82400" y="835918"/>
            <a:ext cx="8211600" cy="3231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82400" y="1401004"/>
            <a:ext cx="8211600" cy="3526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693941" y="5438014"/>
            <a:ext cx="65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82400" y="5438490"/>
            <a:ext cx="225225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5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srgbClr val="F41C50"/>
                </a:solidFill>
              </a:rPr>
              <a:t>Private &amp; Confidential</a:t>
            </a:r>
            <a:endParaRPr lang="nb-NO" dirty="0">
              <a:solidFill>
                <a:srgbClr val="F41C50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430955" y="5438964"/>
            <a:ext cx="282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lnSpc>
                <a:spcPct val="100000"/>
              </a:lnSpc>
              <a:defRPr sz="700">
                <a:solidFill>
                  <a:schemeClr val="tx1"/>
                </a:solidFill>
                <a:latin typeface="Metric Regular" panose="020B0503030202060203" pitchFamily="34" charset="0"/>
              </a:defRPr>
            </a:lvl1pPr>
          </a:lstStyle>
          <a:p>
            <a:r>
              <a:rPr lang="nb-NO">
                <a:solidFill>
                  <a:prstClr val="black"/>
                </a:solidFill>
              </a:rPr>
              <a:t>Page </a:t>
            </a:r>
            <a:fld id="{C73A977F-1452-4597-9E9D-AEC002F918F3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0" y="342000"/>
            <a:ext cx="504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228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2" r:id="rId7"/>
    <p:sldLayoutId id="2147483863" r:id="rId8"/>
    <p:sldLayoutId id="2147483864" r:id="rId9"/>
  </p:sldLayoutIdLst>
  <p:hf hdr="0" dt="0"/>
  <p:txStyles>
    <p:titleStyle>
      <a:lvl1pPr algn="ctr" defTabSz="685681" rtl="0" eaLnBrk="1" latinLnBrk="0" hangingPunct="1">
        <a:lnSpc>
          <a:spcPct val="100000"/>
        </a:lnSpc>
        <a:spcBef>
          <a:spcPct val="0"/>
        </a:spcBef>
        <a:buNone/>
        <a:defRPr sz="2100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7981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719877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35839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804" indent="-107981" algn="l" defTabSz="685681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−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28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70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09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53" indent="-171422" algn="l" defTabSz="68568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3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25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68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06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50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89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31" algn="l" defTabSz="68568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41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slideLayout" Target="../slideLayouts/slideLayout330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72.bin"/><Relationship Id="rId11" Type="http://schemas.openxmlformats.org/officeDocument/2006/relationships/image" Target="../media/image70.png"/><Relationship Id="rId5" Type="http://schemas.openxmlformats.org/officeDocument/2006/relationships/image" Target="../media/image66.jpeg"/><Relationship Id="rId10" Type="http://schemas.openxmlformats.org/officeDocument/2006/relationships/image" Target="../media/image69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41.jpeg"/><Relationship Id="rId2" Type="http://schemas.openxmlformats.org/officeDocument/2006/relationships/tags" Target="../tags/tag8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slideLayout" Target="../slideLayouts/slideLayout330.xml"/><Relationship Id="rId7" Type="http://schemas.openxmlformats.org/officeDocument/2006/relationships/image" Target="../media/image8.emf"/><Relationship Id="rId2" Type="http://schemas.openxmlformats.org/officeDocument/2006/relationships/tags" Target="../tags/tag85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73.bin"/><Relationship Id="rId5" Type="http://schemas.openxmlformats.org/officeDocument/2006/relationships/image" Target="../media/image71.jpeg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41.jpeg"/><Relationship Id="rId2" Type="http://schemas.openxmlformats.org/officeDocument/2006/relationships/tags" Target="../tags/tag86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41.jpeg"/><Relationship Id="rId2" Type="http://schemas.openxmlformats.org/officeDocument/2006/relationships/tags" Target="../tags/tag8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png"/><Relationship Id="rId3" Type="http://schemas.openxmlformats.org/officeDocument/2006/relationships/slideLayout" Target="../slideLayouts/slideLayout330.xml"/><Relationship Id="rId7" Type="http://schemas.openxmlformats.org/officeDocument/2006/relationships/image" Target="../media/image8.emf"/><Relationship Id="rId12" Type="http://schemas.openxmlformats.org/officeDocument/2006/relationships/image" Target="../media/image80.png"/><Relationship Id="rId2" Type="http://schemas.openxmlformats.org/officeDocument/2006/relationships/tags" Target="../tags/tag88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74.bin"/><Relationship Id="rId11" Type="http://schemas.openxmlformats.org/officeDocument/2006/relationships/image" Target="../media/image79.png"/><Relationship Id="rId5" Type="http://schemas.openxmlformats.org/officeDocument/2006/relationships/image" Target="../media/image75.jpeg"/><Relationship Id="rId15" Type="http://schemas.openxmlformats.org/officeDocument/2006/relationships/image" Target="../media/image83.png"/><Relationship Id="rId10" Type="http://schemas.openxmlformats.org/officeDocument/2006/relationships/image" Target="../media/image78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77.png"/><Relationship Id="rId14" Type="http://schemas.openxmlformats.org/officeDocument/2006/relationships/image" Target="../media/image8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0.xml"/><Relationship Id="rId7" Type="http://schemas.openxmlformats.org/officeDocument/2006/relationships/image" Target="../media/image8.emf"/><Relationship Id="rId2" Type="http://schemas.openxmlformats.org/officeDocument/2006/relationships/tags" Target="../tags/tag89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74.bin"/><Relationship Id="rId5" Type="http://schemas.openxmlformats.org/officeDocument/2006/relationships/image" Target="../media/image75.jpe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88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60.xml"/><Relationship Id="rId9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3.xm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41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.xml"/><Relationship Id="rId7" Type="http://schemas.openxmlformats.org/officeDocument/2006/relationships/oleObject" Target="../embeddings/oleObject69.bin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42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0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" Type="http://schemas.openxmlformats.org/officeDocument/2006/relationships/tags" Target="../tags/tag78.xml"/><Relationship Id="rId21" Type="http://schemas.openxmlformats.org/officeDocument/2006/relationships/image" Target="../media/image56.png"/><Relationship Id="rId7" Type="http://schemas.openxmlformats.org/officeDocument/2006/relationships/oleObject" Target="../embeddings/oleObject70.bin"/><Relationship Id="rId12" Type="http://schemas.openxmlformats.org/officeDocument/2006/relationships/image" Target="../media/image47.png"/><Relationship Id="rId17" Type="http://schemas.openxmlformats.org/officeDocument/2006/relationships/image" Target="../media/image52.jpeg"/><Relationship Id="rId25" Type="http://schemas.openxmlformats.org/officeDocument/2006/relationships/image" Target="../media/image60.tiff"/><Relationship Id="rId2" Type="http://schemas.openxmlformats.org/officeDocument/2006/relationships/vmlDrawing" Target="../drawings/vmlDrawing76.vml"/><Relationship Id="rId16" Type="http://schemas.openxmlformats.org/officeDocument/2006/relationships/image" Target="../media/image51.png"/><Relationship Id="rId20" Type="http://schemas.openxmlformats.org/officeDocument/2006/relationships/image" Target="../media/image55.emf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3.png"/><Relationship Id="rId11" Type="http://schemas.openxmlformats.org/officeDocument/2006/relationships/image" Target="../media/image46.png"/><Relationship Id="rId24" Type="http://schemas.openxmlformats.org/officeDocument/2006/relationships/image" Target="../media/image59.jpe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50.png"/><Relationship Id="rId23" Type="http://schemas.openxmlformats.org/officeDocument/2006/relationships/image" Target="../media/image58.png"/><Relationship Id="rId28" Type="http://schemas.openxmlformats.org/officeDocument/2006/relationships/image" Target="../media/image63.png"/><Relationship Id="rId10" Type="http://schemas.openxmlformats.org/officeDocument/2006/relationships/image" Target="../media/image45.jpeg"/><Relationship Id="rId19" Type="http://schemas.openxmlformats.org/officeDocument/2006/relationships/image" Target="../media/image54.emf"/><Relationship Id="rId4" Type="http://schemas.openxmlformats.org/officeDocument/2006/relationships/slideLayout" Target="../slideLayouts/slideLayout282.xml"/><Relationship Id="rId9" Type="http://schemas.openxmlformats.org/officeDocument/2006/relationships/image" Target="../media/image44.png"/><Relationship Id="rId14" Type="http://schemas.openxmlformats.org/officeDocument/2006/relationships/image" Target="../media/image49.png"/><Relationship Id="rId22" Type="http://schemas.openxmlformats.org/officeDocument/2006/relationships/image" Target="../media/image57.emf"/><Relationship Id="rId27" Type="http://schemas.openxmlformats.org/officeDocument/2006/relationships/image" Target="../media/image62.t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0.xml"/><Relationship Id="rId7" Type="http://schemas.openxmlformats.org/officeDocument/2006/relationships/image" Target="../media/image41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1.xml"/><Relationship Id="rId7" Type="http://schemas.openxmlformats.org/officeDocument/2006/relationships/image" Target="../media/image41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9" name="Shape 993"/>
          <p:cNvSpPr/>
          <p:nvPr/>
        </p:nvSpPr>
        <p:spPr>
          <a:xfrm>
            <a:off x="0" y="0"/>
            <a:ext cx="9144000" cy="5715000"/>
          </a:xfrm>
          <a:prstGeom prst="rect">
            <a:avLst/>
          </a:prstGeom>
          <a:gradFill flip="none" rotWithShape="1">
            <a:gsLst>
              <a:gs pos="33000">
                <a:srgbClr val="000000">
                  <a:alpha val="75000"/>
                </a:srgbClr>
              </a:gs>
              <a:gs pos="100000">
                <a:schemeClr val="tx1">
                  <a:alpha val="28000"/>
                </a:schemeClr>
              </a:gs>
            </a:gsLst>
            <a:lin ang="16200000" scaled="0"/>
            <a:tileRect/>
          </a:gradFill>
          <a:ln w="3175">
            <a:miter lim="400000"/>
          </a:ln>
        </p:spPr>
        <p:txBody>
          <a:bodyPr lIns="19810" tIns="19810" rIns="19810" bIns="19810" anchor="ctr"/>
          <a:lstStyle/>
          <a:p>
            <a:pPr algn="ctr" defTabSz="386269">
              <a:defRPr sz="2600">
                <a:solidFill>
                  <a:srgbClr val="FFFFFF"/>
                </a:solidFill>
              </a:defRPr>
            </a:pPr>
            <a:r>
              <a:rPr lang="nb-NO" sz="1200" kern="0" dirty="0">
                <a:solidFill>
                  <a:srgbClr val="FFFFFF"/>
                </a:solidFill>
                <a:sym typeface="Helvetica Light"/>
              </a:rPr>
              <a:t>        </a:t>
            </a:r>
            <a:endParaRPr sz="12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2958307" y="3121567"/>
            <a:ext cx="3227387" cy="68150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 defTabSz="685800" rtl="0" eaLnBrk="0" fontAlgn="base" hangingPunct="0">
              <a:spcBef>
                <a:spcPct val="0"/>
              </a:spcBef>
              <a:spcAft>
                <a:spcPct val="0"/>
              </a:spcAft>
              <a:defRPr sz="2100" kern="1200" cap="all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algn="ctr" defTabSz="685800" rtl="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2pPr>
            <a:lvl3pPr algn="ctr" defTabSz="685800" rtl="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3pPr>
            <a:lvl4pPr algn="ctr" defTabSz="685800" rtl="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4pPr>
            <a:lvl5pPr algn="ctr" defTabSz="685800" rtl="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5pPr>
            <a:lvl6pPr marL="457200" algn="ctr" defTabSz="685800" rtl="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6pPr>
            <a:lvl7pPr marL="914400" algn="ctr" defTabSz="685800" rtl="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7pPr>
            <a:lvl8pPr marL="1371600" algn="ctr" defTabSz="685800" rtl="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8pPr>
            <a:lvl9pPr marL="1828800" algn="ctr" defTabSz="685800" rtl="0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Metric Light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chemeClr val="bg1"/>
                </a:solidFill>
                <a:latin typeface="Metric Light"/>
                <a:cs typeface="Metric Light"/>
              </a:rPr>
              <a:t>10. </a:t>
            </a:r>
            <a:r>
              <a:rPr lang="en-US" sz="1000" dirty="0" err="1">
                <a:solidFill>
                  <a:schemeClr val="bg1"/>
                </a:solidFill>
                <a:latin typeface="Metric Light"/>
                <a:cs typeface="Metric Light"/>
              </a:rPr>
              <a:t>Oktober</a:t>
            </a:r>
            <a:r>
              <a:rPr lang="en-US" sz="1000" dirty="0">
                <a:solidFill>
                  <a:schemeClr val="bg1"/>
                </a:solidFill>
                <a:latin typeface="Metric Light"/>
                <a:cs typeface="Metric Light"/>
              </a:rPr>
              <a:t> 2018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2525854"/>
            <a:ext cx="91440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Vettre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antennelag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 –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en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av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de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første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med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det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siste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</a:t>
            </a:r>
            <a:r>
              <a:rPr lang="en-US" sz="2600" dirty="0" err="1">
                <a:solidFill>
                  <a:schemeClr val="bg1"/>
                </a:solidFill>
                <a:latin typeface="Metric Thin"/>
                <a:cs typeface="Metric Thin"/>
              </a:rPr>
              <a:t>fra</a:t>
            </a:r>
            <a:r>
              <a:rPr lang="en-US" sz="2600" dirty="0">
                <a:solidFill>
                  <a:schemeClr val="bg1"/>
                </a:solidFill>
                <a:latin typeface="Metric Thin"/>
                <a:cs typeface="Metric Thin"/>
              </a:rPr>
              <a:t> GET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944566" y="3000469"/>
            <a:ext cx="1254868" cy="0"/>
          </a:xfrm>
          <a:prstGeom prst="line">
            <a:avLst/>
          </a:prstGeom>
          <a:ln>
            <a:solidFill>
              <a:srgbClr val="FFD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5A8D24D-F9B0-42DB-BA59-5DEB9E9D6B2C}"/>
              </a:ext>
            </a:extLst>
          </p:cNvPr>
          <p:cNvSpPr txBox="1">
            <a:spLocks/>
          </p:cNvSpPr>
          <p:nvPr/>
        </p:nvSpPr>
        <p:spPr>
          <a:xfrm>
            <a:off x="0" y="5500859"/>
            <a:ext cx="2252254" cy="216776"/>
          </a:xfrm>
          <a:prstGeom prst="rect">
            <a:avLst/>
          </a:prstGeom>
        </p:spPr>
        <p:txBody>
          <a:bodyPr lIns="216000" bIns="108000"/>
          <a:lstStyle>
            <a:defPPr>
              <a:defRPr lang="nb-NO"/>
            </a:defPPr>
            <a:lvl1pPr marL="0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6553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111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666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219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2773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332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5885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441" algn="l" defTabSz="71311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700" dirty="0">
                <a:solidFill>
                  <a:srgbClr val="F41C50"/>
                </a:solidFill>
              </a:rPr>
              <a:t>Private &amp; </a:t>
            </a:r>
            <a:r>
              <a:rPr lang="nb-NO" sz="700" dirty="0" err="1">
                <a:solidFill>
                  <a:srgbClr val="F41C50"/>
                </a:solidFill>
              </a:rPr>
              <a:t>Confidential</a:t>
            </a:r>
            <a:endParaRPr lang="nb-NO" sz="700" dirty="0">
              <a:solidFill>
                <a:srgbClr val="F41C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747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INFRASTRUKTUR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5562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6108b580.jpg"/>
          <p:cNvPicPr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170" y="1"/>
            <a:ext cx="9159171" cy="5715000"/>
          </a:xfrm>
          <a:prstGeom prst="rect">
            <a:avLst/>
          </a:prstGeom>
          <a:ln w="3175">
            <a:miter lim="400000"/>
          </a:ln>
        </p:spPr>
      </p:pic>
      <p:sp>
        <p:nvSpPr>
          <p:cNvPr id="96" name="Shape 709"/>
          <p:cNvSpPr/>
          <p:nvPr/>
        </p:nvSpPr>
        <p:spPr>
          <a:xfrm>
            <a:off x="-15173" y="0"/>
            <a:ext cx="9159173" cy="5714999"/>
          </a:xfrm>
          <a:prstGeom prst="rect">
            <a:avLst/>
          </a:prstGeom>
          <a:solidFill>
            <a:srgbClr val="000000">
              <a:alpha val="70000"/>
            </a:srgbClr>
          </a:solidFill>
          <a:ln w="3175">
            <a:miter lim="400000"/>
          </a:ln>
        </p:spPr>
        <p:txBody>
          <a:bodyPr lIns="42333" tIns="42333" rIns="42333" bIns="42333" anchor="ctr"/>
          <a:lstStyle/>
          <a:p>
            <a:pPr defTabSz="825500">
              <a:defRPr sz="2600">
                <a:solidFill>
                  <a:srgbClr val="FFFFFF"/>
                </a:solidFill>
              </a:defRPr>
            </a:pPr>
            <a:endParaRPr sz="2600"/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9" name="Object 1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Title 4"/>
          <p:cNvSpPr txBox="1">
            <a:spLocks/>
          </p:cNvSpPr>
          <p:nvPr/>
        </p:nvSpPr>
        <p:spPr>
          <a:xfrm>
            <a:off x="-1" y="710846"/>
            <a:ext cx="9144002" cy="40911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kern="1200" cap="all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b-NO" sz="2800" dirty="0">
                <a:solidFill>
                  <a:schemeClr val="bg1"/>
                </a:solidFill>
              </a:rPr>
              <a:t>Infrastruktur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35732" y="1701088"/>
            <a:ext cx="3186112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rgbClr val="00B6CA"/>
                </a:solidFill>
                <a:latin typeface="Metric Bold" panose="020B0803030202060203" pitchFamily="34" charset="0"/>
              </a:rPr>
              <a:t>1. </a:t>
            </a:r>
          </a:p>
          <a:p>
            <a:pPr algn="ctr"/>
            <a:r>
              <a:rPr lang="nb-NO" sz="1600" dirty="0">
                <a:solidFill>
                  <a:schemeClr val="bg1"/>
                </a:solidFill>
                <a:latin typeface="+mj-lt"/>
              </a:rPr>
              <a:t>Nye elementer i net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schemeClr val="bg1"/>
                </a:solidFill>
                <a:latin typeface="+mj-lt"/>
              </a:rPr>
              <a:t>GET forstår ditt fremtidige behov og skaper nett som tilfredsstiller fremtidens kra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050" dirty="0" err="1">
                <a:solidFill>
                  <a:schemeClr val="bg1"/>
                </a:solidFill>
                <a:latin typeface="+mj-lt"/>
              </a:rPr>
              <a:t>Nodesegmentering</a:t>
            </a:r>
            <a:r>
              <a:rPr lang="nb-NO" sz="1050" dirty="0">
                <a:solidFill>
                  <a:schemeClr val="bg1"/>
                </a:solidFill>
                <a:latin typeface="+mj-lt"/>
              </a:rPr>
              <a:t> – antall kunder som deler kapasitet reduse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schemeClr val="bg1"/>
                </a:solidFill>
                <a:latin typeface="+mj-lt"/>
              </a:rPr>
              <a:t>Fiber til node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schemeClr val="bg1"/>
                </a:solidFill>
                <a:latin typeface="+mj-lt"/>
              </a:rPr>
              <a:t>Utnyttelse av eksisterende infrastruktur på siste strekningen hjem til deg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454921" y="1701088"/>
            <a:ext cx="2331517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rgbClr val="00B6CA"/>
                </a:solidFill>
                <a:latin typeface="Metric Bold" panose="020B0803030202060203" pitchFamily="34" charset="0"/>
              </a:rPr>
              <a:t>2. </a:t>
            </a:r>
          </a:p>
          <a:p>
            <a:pPr algn="ctr"/>
            <a:r>
              <a:rPr lang="nb-NO" sz="1600" dirty="0">
                <a:solidFill>
                  <a:schemeClr val="bg1"/>
                </a:solidFill>
                <a:latin typeface="+mj-lt"/>
              </a:rPr>
              <a:t>Ny antennekontakt hjemm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chemeClr val="bg1"/>
                </a:solidFill>
                <a:latin typeface="+mj-lt"/>
              </a:rPr>
              <a:t>Tilpasset fremtidens beh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chemeClr val="bg1"/>
                </a:solidFill>
                <a:latin typeface="+mj-lt"/>
              </a:rPr>
              <a:t>Samme utseende som før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715254" y="1701088"/>
            <a:ext cx="329301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rgbClr val="00B6CA"/>
                </a:solidFill>
                <a:latin typeface="Metric Bold" panose="020B0803030202060203" pitchFamily="34" charset="0"/>
              </a:rPr>
              <a:t>3. </a:t>
            </a:r>
          </a:p>
          <a:p>
            <a:pPr algn="ctr"/>
            <a:r>
              <a:rPr lang="nb-NO" sz="1600" dirty="0">
                <a:solidFill>
                  <a:schemeClr val="bg1"/>
                </a:solidFill>
                <a:latin typeface="+mj-lt"/>
              </a:rPr>
              <a:t>Nytt modem hje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chemeClr val="bg1"/>
                </a:solidFill>
                <a:latin typeface="+mj-lt"/>
              </a:rPr>
              <a:t>Nyeste teknologi WIF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chemeClr val="bg1"/>
                </a:solidFill>
                <a:latin typeface="+mj-lt"/>
              </a:rPr>
              <a:t>Effektivt og robust mode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6855" y="3634864"/>
            <a:ext cx="8017298" cy="1348167"/>
            <a:chOff x="456855" y="3653915"/>
            <a:chExt cx="8017298" cy="1348167"/>
          </a:xfrm>
        </p:grpSpPr>
        <p:sp>
          <p:nvSpPr>
            <p:cNvPr id="77" name="TextBox 76"/>
            <p:cNvSpPr txBox="1"/>
            <p:nvPr/>
          </p:nvSpPr>
          <p:spPr>
            <a:xfrm>
              <a:off x="6428881" y="3653915"/>
              <a:ext cx="166084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600" i="1" dirty="0">
                  <a:solidFill>
                    <a:schemeClr val="bg1"/>
                  </a:solidFill>
                </a:rPr>
                <a:t>HVOR DU VIL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692832" y="3789080"/>
              <a:ext cx="226737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600" i="1" dirty="0">
                  <a:solidFill>
                    <a:schemeClr val="bg1"/>
                  </a:solidFill>
                </a:rPr>
                <a:t>TILPASSET FREMTIDEN</a:t>
              </a: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6421143" y="4078851"/>
              <a:ext cx="2053010" cy="923231"/>
              <a:chOff x="6369425" y="3660474"/>
              <a:chExt cx="2053010" cy="923231"/>
            </a:xfrm>
          </p:grpSpPr>
          <p:pic>
            <p:nvPicPr>
              <p:cNvPr id="30" name="Picture 29"/>
              <p:cNvPicPr>
                <a:picLocks noChangeAspect="1"/>
              </p:cNvPicPr>
              <p:nvPr/>
            </p:nvPicPr>
            <p:blipFill>
              <a:blip r:embed="rId8" cstate="print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14847" y="3660474"/>
                <a:ext cx="1305028" cy="923231"/>
              </a:xfrm>
              <a:prstGeom prst="rect">
                <a:avLst/>
              </a:prstGeom>
            </p:spPr>
          </p:pic>
          <p:pic>
            <p:nvPicPr>
              <p:cNvPr id="78" name="Picture 77"/>
              <p:cNvPicPr>
                <a:picLocks noChangeAspect="1"/>
              </p:cNvPicPr>
              <p:nvPr/>
            </p:nvPicPr>
            <p:blipFill rotWithShape="1">
              <a:blip r:embed="rId9" cstate="print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3243"/>
              <a:stretch/>
            </p:blipFill>
            <p:spPr>
              <a:xfrm>
                <a:off x="6369425" y="4062305"/>
                <a:ext cx="213300" cy="426601"/>
              </a:xfrm>
              <a:prstGeom prst="rect">
                <a:avLst/>
              </a:prstGeom>
            </p:spPr>
          </p:pic>
          <p:pic>
            <p:nvPicPr>
              <p:cNvPr id="97" name="Picture 96"/>
              <p:cNvPicPr>
                <a:picLocks noChangeAspect="1"/>
              </p:cNvPicPr>
              <p:nvPr/>
            </p:nvPicPr>
            <p:blipFill>
              <a:blip r:embed="rId10" cstate="print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53576" y="3983942"/>
                <a:ext cx="768859" cy="543923"/>
              </a:xfrm>
              <a:prstGeom prst="rect">
                <a:avLst/>
              </a:prstGeom>
            </p:spPr>
          </p:pic>
        </p:grpSp>
        <p:pic>
          <p:nvPicPr>
            <p:cNvPr id="22554" name="Picture 26" descr="https://maxcdn.icons8.com/Share/icon/Science/infinity1600.pn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417" t="25501" r="4294" b="25755"/>
            <a:stretch/>
          </p:blipFill>
          <p:spPr bwMode="auto">
            <a:xfrm rot="10800000" flipH="1">
              <a:off x="4106806" y="4298713"/>
              <a:ext cx="1078523" cy="582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TextBox 83"/>
            <p:cNvSpPr txBox="1"/>
            <p:nvPr/>
          </p:nvSpPr>
          <p:spPr>
            <a:xfrm>
              <a:off x="456855" y="3737341"/>
              <a:ext cx="215922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600" i="1" dirty="0">
                  <a:solidFill>
                    <a:schemeClr val="bg1"/>
                  </a:solidFill>
                </a:rPr>
                <a:t>TIL DIN TJENESTE 24/7 </a:t>
              </a: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1131602" y="4298713"/>
              <a:ext cx="525899" cy="525899"/>
              <a:chOff x="-2415423" y="3530945"/>
              <a:chExt cx="1325308" cy="1325307"/>
            </a:xfrm>
          </p:grpSpPr>
          <p:sp>
            <p:nvSpPr>
              <p:cNvPr id="2" name="Oval 1"/>
              <p:cNvSpPr/>
              <p:nvPr/>
            </p:nvSpPr>
            <p:spPr>
              <a:xfrm>
                <a:off x="-2415423" y="3530945"/>
                <a:ext cx="1325308" cy="1325307"/>
              </a:xfrm>
              <a:prstGeom prst="ellipse">
                <a:avLst/>
              </a:prstGeom>
              <a:noFill/>
              <a:ln w="44450">
                <a:solidFill>
                  <a:srgbClr val="CDCDC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  <p:sp>
            <p:nvSpPr>
              <p:cNvPr id="4" name="Rectangle 3"/>
              <p:cNvSpPr/>
              <p:nvPr/>
            </p:nvSpPr>
            <p:spPr>
              <a:xfrm>
                <a:off x="-1792308" y="3874147"/>
                <a:ext cx="78750" cy="319450"/>
              </a:xfrm>
              <a:prstGeom prst="rect">
                <a:avLst/>
              </a:prstGeom>
              <a:solidFill>
                <a:srgbClr val="CDCDCD"/>
              </a:solidFill>
              <a:ln w="19050">
                <a:solidFill>
                  <a:srgbClr val="CDCDC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  <p:sp>
            <p:nvSpPr>
              <p:cNvPr id="34" name="Rectangle 33"/>
              <p:cNvSpPr/>
              <p:nvPr/>
            </p:nvSpPr>
            <p:spPr>
              <a:xfrm rot="19320000">
                <a:off x="-1714652" y="4167920"/>
                <a:ext cx="78750" cy="253966"/>
              </a:xfrm>
              <a:prstGeom prst="rect">
                <a:avLst/>
              </a:prstGeom>
              <a:solidFill>
                <a:srgbClr val="CDCDCD"/>
              </a:solidFill>
              <a:ln w="19050">
                <a:solidFill>
                  <a:srgbClr val="CDCDC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658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FORVENTNINGER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2552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9728" y="0"/>
            <a:ext cx="9153729" cy="5729591"/>
            <a:chOff x="-9728" y="0"/>
            <a:chExt cx="9153729" cy="572959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" y="1"/>
              <a:ext cx="9144000" cy="5714999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>
            <a:xfrm>
              <a:off x="-9728" y="0"/>
              <a:ext cx="9153728" cy="5729591"/>
            </a:xfrm>
            <a:prstGeom prst="rect">
              <a:avLst/>
            </a:prstGeom>
            <a:solidFill>
              <a:schemeClr val="tx1">
                <a:lumMod val="95000"/>
                <a:lumOff val="5000"/>
                <a:alpha val="66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</p:grpSp>
      <p:sp>
        <p:nvSpPr>
          <p:cNvPr id="34" name="Shape 506"/>
          <p:cNvSpPr/>
          <p:nvPr/>
        </p:nvSpPr>
        <p:spPr>
          <a:xfrm>
            <a:off x="81482" y="2435834"/>
            <a:ext cx="9144000" cy="59400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9810" tIns="19810" rIns="19810" bIns="19810" anchor="ctr">
            <a:spAutoFit/>
          </a:bodyPr>
          <a:lstStyle/>
          <a:p>
            <a:pPr algn="ctr" defTabSz="386279">
              <a:defRPr sz="1800"/>
            </a:pPr>
            <a:r>
              <a:rPr lang="nb-NO" sz="3600" dirty="0" err="1">
                <a:solidFill>
                  <a:schemeClr val="bg1"/>
                </a:solidFill>
                <a:ea typeface="Metric Thin"/>
                <a:cs typeface="Metric Thin"/>
                <a:sym typeface="Metric Thin"/>
              </a:rPr>
              <a:t>GETs</a:t>
            </a:r>
            <a:r>
              <a:rPr lang="nb-NO" sz="3600" dirty="0">
                <a:solidFill>
                  <a:schemeClr val="bg1"/>
                </a:solidFill>
                <a:ea typeface="Metric Thin"/>
                <a:cs typeface="Metric Thin"/>
                <a:sym typeface="Metric Thin"/>
              </a:rPr>
              <a:t> </a:t>
            </a:r>
            <a:r>
              <a:rPr lang="nb-NO" sz="3600" dirty="0">
                <a:solidFill>
                  <a:schemeClr val="bg1"/>
                </a:solidFill>
                <a:latin typeface="+mj-lt"/>
                <a:ea typeface="Metric Thin"/>
                <a:cs typeface="Metric Thin"/>
                <a:sym typeface="Metric Thin"/>
              </a:rPr>
              <a:t>FORVENTNINGER</a:t>
            </a:r>
            <a:endParaRPr sz="2600" dirty="0">
              <a:solidFill>
                <a:schemeClr val="bg1"/>
              </a:solidFill>
              <a:latin typeface="+mj-lt"/>
              <a:ea typeface="Metric Thin"/>
              <a:cs typeface="Metric Thin"/>
              <a:sym typeface="Metric Thin"/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1197132" y="3172843"/>
            <a:ext cx="2122414" cy="1877656"/>
            <a:chOff x="1154940" y="3172843"/>
            <a:chExt cx="2122414" cy="1877656"/>
          </a:xfrm>
        </p:grpSpPr>
        <p:sp>
          <p:nvSpPr>
            <p:cNvPr id="12" name="TextBox 11"/>
            <p:cNvSpPr txBox="1"/>
            <p:nvPr/>
          </p:nvSpPr>
          <p:spPr>
            <a:xfrm>
              <a:off x="1154940" y="3480839"/>
              <a:ext cx="212241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3200" dirty="0">
                  <a:solidFill>
                    <a:srgbClr val="A0025A"/>
                  </a:solidFill>
                  <a:latin typeface="Metric Bold" panose="020B0803030202060203" pitchFamily="34" charset="0"/>
                </a:rPr>
                <a:t> </a:t>
              </a:r>
            </a:p>
            <a:p>
              <a:pPr algn="ctr"/>
              <a:r>
                <a:rPr lang="nb-NO" sz="1600" dirty="0">
                  <a:solidFill>
                    <a:schemeClr val="bg1"/>
                  </a:solidFill>
                  <a:latin typeface="+mj-lt"/>
                </a:rPr>
                <a:t>Aktiv og rask gjennomføring av dedikerte tester ved behov </a:t>
              </a:r>
            </a:p>
          </p:txBody>
        </p:sp>
        <p:pic>
          <p:nvPicPr>
            <p:cNvPr id="568380" name="Picture 60" descr="https://image.flaticon.com/icons/png/512/22/22875.png"/>
            <p:cNvPicPr>
              <a:picLocks noChangeAspect="1" noChangeArrowheads="1"/>
            </p:cNvPicPr>
            <p:nvPr/>
          </p:nvPicPr>
          <p:blipFill>
            <a:blip r:embed="rId8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5828" y="3172843"/>
              <a:ext cx="757132" cy="7571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5916386" y="3096638"/>
            <a:ext cx="2256818" cy="2325887"/>
            <a:chOff x="5960457" y="3096638"/>
            <a:chExt cx="2256818" cy="2325887"/>
          </a:xfrm>
        </p:grpSpPr>
        <p:sp>
          <p:nvSpPr>
            <p:cNvPr id="13" name="TextBox 12"/>
            <p:cNvSpPr txBox="1"/>
            <p:nvPr/>
          </p:nvSpPr>
          <p:spPr>
            <a:xfrm>
              <a:off x="5960457" y="3483533"/>
              <a:ext cx="2256818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3200" dirty="0">
                  <a:solidFill>
                    <a:srgbClr val="A0025A"/>
                  </a:solidFill>
                  <a:latin typeface="Metric Bold" panose="020B0803030202060203" pitchFamily="34" charset="0"/>
                </a:rPr>
                <a:t> </a:t>
              </a:r>
            </a:p>
            <a:p>
              <a:pPr algn="ctr"/>
              <a:r>
                <a:rPr lang="nb-NO" sz="1600" dirty="0">
                  <a:solidFill>
                    <a:schemeClr val="bg1"/>
                  </a:solidFill>
                  <a:latin typeface="+mj-lt"/>
                </a:rPr>
                <a:t>Definerte tidsvinduer for justeringer i nettet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000" dirty="0">
                  <a:solidFill>
                    <a:schemeClr val="bg1"/>
                  </a:solidFill>
                  <a:latin typeface="+mj-lt"/>
                </a:rPr>
                <a:t>Mandag og onsdag </a:t>
              </a:r>
              <a:r>
                <a:rPr lang="nb-NO" sz="1000" dirty="0" err="1">
                  <a:solidFill>
                    <a:schemeClr val="bg1"/>
                  </a:solidFill>
                  <a:latin typeface="+mj-lt"/>
                </a:rPr>
                <a:t>kl</a:t>
              </a:r>
              <a:r>
                <a:rPr lang="nb-NO" sz="1000" dirty="0">
                  <a:solidFill>
                    <a:schemeClr val="bg1"/>
                  </a:solidFill>
                  <a:latin typeface="+mj-lt"/>
                </a:rPr>
                <a:t> 1000 – 1400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000" dirty="0">
                  <a:solidFill>
                    <a:schemeClr val="bg1"/>
                  </a:solidFill>
                  <a:latin typeface="+mj-lt"/>
                </a:rPr>
                <a:t>Foruten disse tidene – ved unormal driftsstans – i så fall prioritert respons fra GET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sz="160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568382" name="Picture 62" descr="http://assets.baxterauto.com/service-landing/cdjr-wd/img/icons/tech_icon.png"/>
            <p:cNvPicPr>
              <a:picLocks noChangeAspect="1" noChangeArrowheads="1"/>
            </p:cNvPicPr>
            <p:nvPr/>
          </p:nvPicPr>
          <p:blipFill>
            <a:blip r:embed="rId9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031" y="3096638"/>
              <a:ext cx="768484" cy="768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3669481" y="2875923"/>
            <a:ext cx="1968002" cy="1928355"/>
            <a:chOff x="3689544" y="2875923"/>
            <a:chExt cx="1968002" cy="1928355"/>
          </a:xfrm>
        </p:grpSpPr>
        <p:sp>
          <p:nvSpPr>
            <p:cNvPr id="14" name="TextBox 13"/>
            <p:cNvSpPr txBox="1"/>
            <p:nvPr/>
          </p:nvSpPr>
          <p:spPr>
            <a:xfrm>
              <a:off x="3689544" y="3480839"/>
              <a:ext cx="196800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3200" dirty="0">
                  <a:solidFill>
                    <a:srgbClr val="A0025A"/>
                  </a:solidFill>
                  <a:latin typeface="Metric Bold" panose="020B0803030202060203" pitchFamily="34" charset="0"/>
                </a:rPr>
                <a:t> </a:t>
              </a:r>
            </a:p>
            <a:p>
              <a:pPr algn="ctr"/>
              <a:r>
                <a:rPr lang="nb-NO" sz="1600" dirty="0">
                  <a:solidFill>
                    <a:schemeClr val="bg1"/>
                  </a:solidFill>
                  <a:latin typeface="+mj-lt"/>
                </a:rPr>
                <a:t>Rask respons på henvendelser ved behov</a:t>
              </a:r>
            </a:p>
          </p:txBody>
        </p:sp>
        <p:pic>
          <p:nvPicPr>
            <p:cNvPr id="568388" name="Picture 68" descr="https://wp.myperfectresume.com/wp-content/uploads/2016/05/Icons4_Customer-Service.png"/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0970" y="2875923"/>
              <a:ext cx="1315878" cy="12096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Shape 506">
            <a:extLst>
              <a:ext uri="{FF2B5EF4-FFF2-40B4-BE49-F238E27FC236}">
                <a16:creationId xmlns:a16="http://schemas.microsoft.com/office/drawing/2014/main" id="{1B4C4CDB-E84F-4D6E-BA58-889C9B3842F6}"/>
              </a:ext>
            </a:extLst>
          </p:cNvPr>
          <p:cNvSpPr/>
          <p:nvPr/>
        </p:nvSpPr>
        <p:spPr>
          <a:xfrm>
            <a:off x="40741" y="284426"/>
            <a:ext cx="9144000" cy="59400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9810" tIns="19810" rIns="19810" bIns="19810" anchor="ctr">
            <a:spAutoFit/>
          </a:bodyPr>
          <a:lstStyle/>
          <a:p>
            <a:pPr algn="ctr" defTabSz="386279">
              <a:defRPr sz="1800"/>
            </a:pPr>
            <a:r>
              <a:rPr lang="nb-NO" sz="3600" dirty="0">
                <a:solidFill>
                  <a:schemeClr val="bg1"/>
                </a:solidFill>
                <a:ea typeface="Metric Thin"/>
                <a:cs typeface="Metric Thin"/>
                <a:sym typeface="Metric Thin"/>
              </a:rPr>
              <a:t>Dine </a:t>
            </a:r>
            <a:r>
              <a:rPr lang="nb-NO" sz="3600" dirty="0">
                <a:solidFill>
                  <a:schemeClr val="bg1"/>
                </a:solidFill>
                <a:latin typeface="+mj-lt"/>
                <a:ea typeface="Metric Thin"/>
                <a:cs typeface="Metric Thin"/>
                <a:sym typeface="Metric Thin"/>
              </a:rPr>
              <a:t>FORVENTNINGER</a:t>
            </a:r>
            <a:endParaRPr sz="2600" dirty="0">
              <a:solidFill>
                <a:schemeClr val="bg1"/>
              </a:solidFill>
              <a:latin typeface="+mj-lt"/>
              <a:ea typeface="Metric Thin"/>
              <a:cs typeface="Metric Thin"/>
              <a:sym typeface="Metric Thin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44C9F5-3A75-4BB3-8E96-23F1AF2F2EC4}"/>
              </a:ext>
            </a:extLst>
          </p:cNvPr>
          <p:cNvSpPr txBox="1"/>
          <p:nvPr/>
        </p:nvSpPr>
        <p:spPr>
          <a:xfrm>
            <a:off x="1197132" y="941284"/>
            <a:ext cx="6282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Raskere og mer stabilt ne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Hyggeligere opplevelser i et «smartere» hjem tilpasset fremtiden </a:t>
            </a:r>
          </a:p>
        </p:txBody>
      </p:sp>
    </p:spTree>
    <p:extLst>
      <p:ext uri="{BB962C8B-B14F-4D97-AF65-F5344CB8AC3E}">
        <p14:creationId xmlns:p14="http://schemas.microsoft.com/office/powerpoint/2010/main" val="30217116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TILBUD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2374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8100"/>
            <a:ext cx="9144000" cy="57531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-38100"/>
            <a:ext cx="9144000" cy="5753100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60000"/>
                </a:schemeClr>
              </a:gs>
              <a:gs pos="0">
                <a:schemeClr val="tx1">
                  <a:alpha val="60000"/>
                </a:schemeClr>
              </a:gs>
            </a:gsLst>
            <a:lin ang="27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TextBox 6"/>
          <p:cNvSpPr txBox="1"/>
          <p:nvPr/>
        </p:nvSpPr>
        <p:spPr>
          <a:xfrm>
            <a:off x="0" y="147497"/>
            <a:ext cx="9144000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Thin" panose="020B0403030202060203" pitchFamily="34" charset="0"/>
              </a:rPr>
              <a:t>TILBUD TIL </a:t>
            </a:r>
            <a:r>
              <a:rPr lang="nb-NO" sz="5400" dirty="0">
                <a:solidFill>
                  <a:schemeClr val="bg1"/>
                </a:solidFill>
                <a:latin typeface="+mj-lt"/>
              </a:rPr>
              <a:t>DEG</a:t>
            </a: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8B0984-87F5-4CCA-A3DC-78945C75E0EF}"/>
              </a:ext>
            </a:extLst>
          </p:cNvPr>
          <p:cNvSpPr txBox="1"/>
          <p:nvPr/>
        </p:nvSpPr>
        <p:spPr>
          <a:xfrm>
            <a:off x="0" y="1537855"/>
            <a:ext cx="9144000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raskere internett – uten merkostnader i pilotperioden – 6 måneder fra ombygging og </a:t>
            </a:r>
            <a:r>
              <a:rPr lang="nb-NO" sz="1800" dirty="0" err="1">
                <a:solidFill>
                  <a:schemeClr val="bg1"/>
                </a:solidFill>
              </a:rPr>
              <a:t>driftsetting</a:t>
            </a:r>
            <a:endParaRPr lang="nb-NO" sz="18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anledning til å bli hørt i utbyggingspros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nytt modem @</a:t>
            </a:r>
            <a:r>
              <a:rPr lang="nb-NO" sz="1800" dirty="0" err="1">
                <a:solidFill>
                  <a:schemeClr val="bg1"/>
                </a:solidFill>
              </a:rPr>
              <a:t>home</a:t>
            </a:r>
            <a:r>
              <a:rPr lang="nb-NO" sz="1800" dirty="0">
                <a:solidFill>
                  <a:schemeClr val="bg1"/>
                </a:solidFill>
              </a:rPr>
              <a:t> med «</a:t>
            </a:r>
            <a:r>
              <a:rPr lang="nb-NO" sz="1800" dirty="0" err="1">
                <a:solidFill>
                  <a:schemeClr val="bg1"/>
                </a:solidFill>
              </a:rPr>
              <a:t>state</a:t>
            </a:r>
            <a:r>
              <a:rPr lang="nb-NO" sz="1800" dirty="0">
                <a:solidFill>
                  <a:schemeClr val="bg1"/>
                </a:solidFill>
              </a:rPr>
              <a:t> </a:t>
            </a:r>
            <a:r>
              <a:rPr lang="nb-NO" sz="1800" dirty="0" err="1">
                <a:solidFill>
                  <a:schemeClr val="bg1"/>
                </a:solidFill>
              </a:rPr>
              <a:t>of</a:t>
            </a:r>
            <a:r>
              <a:rPr lang="nb-NO" sz="1800" dirty="0">
                <a:solidFill>
                  <a:schemeClr val="bg1"/>
                </a:solidFill>
              </a:rPr>
              <a:t> </a:t>
            </a:r>
            <a:r>
              <a:rPr lang="nb-NO" sz="1800" dirty="0" err="1">
                <a:solidFill>
                  <a:schemeClr val="bg1"/>
                </a:solidFill>
              </a:rPr>
              <a:t>the</a:t>
            </a:r>
            <a:r>
              <a:rPr lang="nb-NO" sz="1800" dirty="0">
                <a:solidFill>
                  <a:schemeClr val="bg1"/>
                </a:solidFill>
              </a:rPr>
              <a:t> art» kapasitet og spesifikasj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et mer stabilt nett som vil gi deg hyggelige opplevelser som bru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spesiell oppmerksomhet i pilotperiod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tilknytning til fullt ut oppgradert nett hele veien fra kilden (Head End) til hjemmet ditt</a:t>
            </a:r>
          </a:p>
          <a:p>
            <a:endParaRPr lang="nb-NO" sz="18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8585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TIDSPLAN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978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8135" y="-98474"/>
            <a:ext cx="9242474" cy="5828065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-50088" y="-98474"/>
            <a:ext cx="9264428" cy="5828065"/>
          </a:xfrm>
          <a:prstGeom prst="rect">
            <a:avLst/>
          </a:prstGeom>
          <a:solidFill>
            <a:schemeClr val="tx1">
              <a:lumMod val="95000"/>
              <a:lumOff val="5000"/>
              <a:alpha val="6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4" name="Shape 506"/>
          <p:cNvSpPr/>
          <p:nvPr/>
        </p:nvSpPr>
        <p:spPr>
          <a:xfrm>
            <a:off x="0" y="622636"/>
            <a:ext cx="9144000" cy="59400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810" tIns="19810" rIns="19810" bIns="19810" anchor="ctr">
            <a:spAutoFit/>
          </a:bodyPr>
          <a:lstStyle/>
          <a:p>
            <a:pPr algn="ctr" defTabSz="386279">
              <a:defRPr sz="1800"/>
            </a:pPr>
            <a:r>
              <a:rPr lang="nb-NO" sz="3600" dirty="0">
                <a:solidFill>
                  <a:schemeClr val="bg1"/>
                </a:solidFill>
                <a:ea typeface="Metric Thin"/>
                <a:cs typeface="Metric Thin"/>
                <a:sym typeface="Metric Thin"/>
              </a:rPr>
              <a:t>Tidsplan</a:t>
            </a:r>
            <a:endParaRPr sz="2600" dirty="0">
              <a:solidFill>
                <a:schemeClr val="bg1"/>
              </a:solidFill>
              <a:ea typeface="Metric Thin"/>
              <a:cs typeface="Metric Thin"/>
              <a:sym typeface="Metric Thin"/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-3955551" y="1047963"/>
            <a:ext cx="3698697" cy="30261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nb-NO" sz="1100" dirty="0"/>
          </a:p>
          <a:p>
            <a:endParaRPr lang="nb-NO" sz="1100" dirty="0"/>
          </a:p>
        </p:txBody>
      </p:sp>
      <p:grpSp>
        <p:nvGrpSpPr>
          <p:cNvPr id="545897" name="Group 545896"/>
          <p:cNvGrpSpPr/>
          <p:nvPr/>
        </p:nvGrpSpPr>
        <p:grpSpPr>
          <a:xfrm>
            <a:off x="6290604" y="3025718"/>
            <a:ext cx="1345610" cy="2001224"/>
            <a:chOff x="6716639" y="2705698"/>
            <a:chExt cx="1615225" cy="2402205"/>
          </a:xfrm>
        </p:grpSpPr>
        <p:grpSp>
          <p:nvGrpSpPr>
            <p:cNvPr id="545795" name="Group 545794"/>
            <p:cNvGrpSpPr/>
            <p:nvPr/>
          </p:nvGrpSpPr>
          <p:grpSpPr>
            <a:xfrm>
              <a:off x="6716639" y="2705698"/>
              <a:ext cx="741682" cy="2402205"/>
              <a:chOff x="2072322" y="635"/>
              <a:chExt cx="741682" cy="2402205"/>
            </a:xfrm>
          </p:grpSpPr>
          <p:pic>
            <p:nvPicPr>
              <p:cNvPr id="545802" name="Picture 1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72322" y="635"/>
                <a:ext cx="741682" cy="24022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6" name="Group 11"/>
              <p:cNvGrpSpPr>
                <a:grpSpLocks/>
              </p:cNvGrpSpPr>
              <p:nvPr/>
            </p:nvGrpSpPr>
            <p:grpSpPr bwMode="auto">
              <a:xfrm>
                <a:off x="2072322" y="635"/>
                <a:ext cx="741682" cy="2402205"/>
                <a:chOff x="1115" y="1964"/>
                <a:chExt cx="1170" cy="3783"/>
              </a:xfrm>
            </p:grpSpPr>
            <p:sp>
              <p:nvSpPr>
                <p:cNvPr id="545792" name="Freeform 12"/>
                <p:cNvSpPr>
                  <a:spLocks/>
                </p:cNvSpPr>
                <p:nvPr/>
              </p:nvSpPr>
              <p:spPr bwMode="auto">
                <a:xfrm>
                  <a:off x="1115" y="1964"/>
                  <a:ext cx="1170" cy="3783"/>
                </a:xfrm>
                <a:custGeom>
                  <a:avLst/>
                  <a:gdLst>
                    <a:gd name="T0" fmla="+- 0 2089 1115"/>
                    <a:gd name="T1" fmla="*/ T0 w 1170"/>
                    <a:gd name="T2" fmla="+- 0 5679 1964"/>
                    <a:gd name="T3" fmla="*/ 5679 h 3783"/>
                    <a:gd name="T4" fmla="+- 0 2083 1115"/>
                    <a:gd name="T5" fmla="*/ T4 w 1170"/>
                    <a:gd name="T6" fmla="+- 0 5679 1964"/>
                    <a:gd name="T7" fmla="*/ 5679 h 3783"/>
                    <a:gd name="T8" fmla="+- 0 2078 1115"/>
                    <a:gd name="T9" fmla="*/ T8 w 1170"/>
                    <a:gd name="T10" fmla="+- 0 5673 1964"/>
                    <a:gd name="T11" fmla="*/ 5673 h 3783"/>
                    <a:gd name="T12" fmla="+- 0 2078 1115"/>
                    <a:gd name="T13" fmla="*/ T12 w 1170"/>
                    <a:gd name="T14" fmla="+- 0 5668 1964"/>
                    <a:gd name="T15" fmla="*/ 5668 h 3783"/>
                    <a:gd name="T16" fmla="+- 0 2078 1115"/>
                    <a:gd name="T17" fmla="*/ T16 w 1170"/>
                    <a:gd name="T18" fmla="+- 0 1975 1964"/>
                    <a:gd name="T19" fmla="*/ 1975 h 3783"/>
                    <a:gd name="T20" fmla="+- 0 2078 1115"/>
                    <a:gd name="T21" fmla="*/ T20 w 1170"/>
                    <a:gd name="T22" fmla="+- 0 1969 1964"/>
                    <a:gd name="T23" fmla="*/ 1969 h 3783"/>
                    <a:gd name="T24" fmla="+- 0 2074 1115"/>
                    <a:gd name="T25" fmla="*/ T24 w 1170"/>
                    <a:gd name="T26" fmla="+- 0 1964 1964"/>
                    <a:gd name="T27" fmla="*/ 1964 h 3783"/>
                    <a:gd name="T28" fmla="+- 0 2068 1115"/>
                    <a:gd name="T29" fmla="*/ T28 w 1170"/>
                    <a:gd name="T30" fmla="+- 0 1964 1964"/>
                    <a:gd name="T31" fmla="*/ 1964 h 3783"/>
                    <a:gd name="T32" fmla="+- 0 1332 1115"/>
                    <a:gd name="T33" fmla="*/ T32 w 1170"/>
                    <a:gd name="T34" fmla="+- 0 1964 1964"/>
                    <a:gd name="T35" fmla="*/ 1964 h 3783"/>
                    <a:gd name="T36" fmla="+- 0 1327 1115"/>
                    <a:gd name="T37" fmla="*/ T36 w 1170"/>
                    <a:gd name="T38" fmla="+- 0 1964 1964"/>
                    <a:gd name="T39" fmla="*/ 1964 h 3783"/>
                    <a:gd name="T40" fmla="+- 0 1322 1115"/>
                    <a:gd name="T41" fmla="*/ T40 w 1170"/>
                    <a:gd name="T42" fmla="+- 0 1969 1964"/>
                    <a:gd name="T43" fmla="*/ 1969 h 3783"/>
                    <a:gd name="T44" fmla="+- 0 1322 1115"/>
                    <a:gd name="T45" fmla="*/ T44 w 1170"/>
                    <a:gd name="T46" fmla="+- 0 1975 1964"/>
                    <a:gd name="T47" fmla="*/ 1975 h 3783"/>
                    <a:gd name="T48" fmla="+- 0 1322 1115"/>
                    <a:gd name="T49" fmla="*/ T48 w 1170"/>
                    <a:gd name="T50" fmla="+- 0 5668 1964"/>
                    <a:gd name="T51" fmla="*/ 5668 h 3783"/>
                    <a:gd name="T52" fmla="+- 0 1322 1115"/>
                    <a:gd name="T53" fmla="*/ T52 w 1170"/>
                    <a:gd name="T54" fmla="+- 0 5673 1964"/>
                    <a:gd name="T55" fmla="*/ 5673 h 3783"/>
                    <a:gd name="T56" fmla="+- 0 1317 1115"/>
                    <a:gd name="T57" fmla="*/ T56 w 1170"/>
                    <a:gd name="T58" fmla="+- 0 5679 1964"/>
                    <a:gd name="T59" fmla="*/ 5679 h 3783"/>
                    <a:gd name="T60" fmla="+- 0 1312 1115"/>
                    <a:gd name="T61" fmla="*/ T60 w 1170"/>
                    <a:gd name="T62" fmla="+- 0 5679 1964"/>
                    <a:gd name="T63" fmla="*/ 5679 h 3783"/>
                    <a:gd name="T64" fmla="+- 0 1125 1115"/>
                    <a:gd name="T65" fmla="*/ T64 w 1170"/>
                    <a:gd name="T66" fmla="+- 0 5704 1964"/>
                    <a:gd name="T67" fmla="*/ 5704 h 3783"/>
                    <a:gd name="T68" fmla="+- 0 1120 1115"/>
                    <a:gd name="T69" fmla="*/ T68 w 1170"/>
                    <a:gd name="T70" fmla="+- 0 5705 1964"/>
                    <a:gd name="T71" fmla="*/ 5705 h 3783"/>
                    <a:gd name="T72" fmla="+- 0 1115 1115"/>
                    <a:gd name="T73" fmla="*/ T72 w 1170"/>
                    <a:gd name="T74" fmla="+- 0 5710 1964"/>
                    <a:gd name="T75" fmla="*/ 5710 h 3783"/>
                    <a:gd name="T76" fmla="+- 0 1115 1115"/>
                    <a:gd name="T77" fmla="*/ T76 w 1170"/>
                    <a:gd name="T78" fmla="+- 0 5716 1964"/>
                    <a:gd name="T79" fmla="*/ 5716 h 3783"/>
                    <a:gd name="T80" fmla="+- 0 1115 1115"/>
                    <a:gd name="T81" fmla="*/ T80 w 1170"/>
                    <a:gd name="T82" fmla="+- 0 5737 1964"/>
                    <a:gd name="T83" fmla="*/ 5737 h 3783"/>
                    <a:gd name="T84" fmla="+- 0 1115 1115"/>
                    <a:gd name="T85" fmla="*/ T84 w 1170"/>
                    <a:gd name="T86" fmla="+- 0 5743 1964"/>
                    <a:gd name="T87" fmla="*/ 5743 h 3783"/>
                    <a:gd name="T88" fmla="+- 0 1120 1115"/>
                    <a:gd name="T89" fmla="*/ T88 w 1170"/>
                    <a:gd name="T90" fmla="+- 0 5748 1964"/>
                    <a:gd name="T91" fmla="*/ 5748 h 3783"/>
                    <a:gd name="T92" fmla="+- 0 1125 1115"/>
                    <a:gd name="T93" fmla="*/ T92 w 1170"/>
                    <a:gd name="T94" fmla="+- 0 5748 1964"/>
                    <a:gd name="T95" fmla="*/ 5748 h 3783"/>
                    <a:gd name="T96" fmla="+- 0 1312 1115"/>
                    <a:gd name="T97" fmla="*/ T96 w 1170"/>
                    <a:gd name="T98" fmla="+- 0 5748 1964"/>
                    <a:gd name="T99" fmla="*/ 5748 h 3783"/>
                    <a:gd name="T100" fmla="+- 0 2281 1115"/>
                    <a:gd name="T101" fmla="*/ T100 w 1170"/>
                    <a:gd name="T102" fmla="+- 0 5748 1964"/>
                    <a:gd name="T103" fmla="*/ 5748 h 3783"/>
                    <a:gd name="T104" fmla="+- 0 2285 1115"/>
                    <a:gd name="T105" fmla="*/ T104 w 1170"/>
                    <a:gd name="T106" fmla="+- 0 5743 1964"/>
                    <a:gd name="T107" fmla="*/ 5743 h 3783"/>
                    <a:gd name="T108" fmla="+- 0 2285 1115"/>
                    <a:gd name="T109" fmla="*/ T108 w 1170"/>
                    <a:gd name="T110" fmla="+- 0 5737 1964"/>
                    <a:gd name="T111" fmla="*/ 5737 h 3783"/>
                    <a:gd name="T112" fmla="+- 0 2285 1115"/>
                    <a:gd name="T113" fmla="*/ T112 w 1170"/>
                    <a:gd name="T114" fmla="+- 0 5716 1964"/>
                    <a:gd name="T115" fmla="*/ 5716 h 3783"/>
                    <a:gd name="T116" fmla="+- 0 2285 1115"/>
                    <a:gd name="T117" fmla="*/ T116 w 1170"/>
                    <a:gd name="T118" fmla="+- 0 5710 1964"/>
                    <a:gd name="T119" fmla="*/ 5710 h 3783"/>
                    <a:gd name="T120" fmla="+- 0 2281 1115"/>
                    <a:gd name="T121" fmla="*/ T120 w 1170"/>
                    <a:gd name="T122" fmla="+- 0 5705 1964"/>
                    <a:gd name="T123" fmla="*/ 5705 h 3783"/>
                    <a:gd name="T124" fmla="+- 0 2275 1115"/>
                    <a:gd name="T125" fmla="*/ T124 w 1170"/>
                    <a:gd name="T126" fmla="+- 0 5704 1964"/>
                    <a:gd name="T127" fmla="*/ 5704 h 3783"/>
                    <a:gd name="T128" fmla="+- 0 2089 1115"/>
                    <a:gd name="T129" fmla="*/ T128 w 1170"/>
                    <a:gd name="T130" fmla="+- 0 5679 1964"/>
                    <a:gd name="T131" fmla="*/ 5679 h 3783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  <a:cxn ang="0">
                      <a:pos x="T45" y="T47"/>
                    </a:cxn>
                    <a:cxn ang="0">
                      <a:pos x="T49" y="T51"/>
                    </a:cxn>
                    <a:cxn ang="0">
                      <a:pos x="T53" y="T55"/>
                    </a:cxn>
                    <a:cxn ang="0">
                      <a:pos x="T57" y="T59"/>
                    </a:cxn>
                    <a:cxn ang="0">
                      <a:pos x="T61" y="T63"/>
                    </a:cxn>
                    <a:cxn ang="0">
                      <a:pos x="T65" y="T67"/>
                    </a:cxn>
                    <a:cxn ang="0">
                      <a:pos x="T69" y="T71"/>
                    </a:cxn>
                    <a:cxn ang="0">
                      <a:pos x="T73" y="T75"/>
                    </a:cxn>
                    <a:cxn ang="0">
                      <a:pos x="T77" y="T79"/>
                    </a:cxn>
                    <a:cxn ang="0">
                      <a:pos x="T81" y="T83"/>
                    </a:cxn>
                    <a:cxn ang="0">
                      <a:pos x="T85" y="T87"/>
                    </a:cxn>
                    <a:cxn ang="0">
                      <a:pos x="T89" y="T91"/>
                    </a:cxn>
                    <a:cxn ang="0">
                      <a:pos x="T93" y="T95"/>
                    </a:cxn>
                    <a:cxn ang="0">
                      <a:pos x="T97" y="T99"/>
                    </a:cxn>
                    <a:cxn ang="0">
                      <a:pos x="T101" y="T103"/>
                    </a:cxn>
                    <a:cxn ang="0">
                      <a:pos x="T105" y="T107"/>
                    </a:cxn>
                    <a:cxn ang="0">
                      <a:pos x="T109" y="T111"/>
                    </a:cxn>
                    <a:cxn ang="0">
                      <a:pos x="T113" y="T115"/>
                    </a:cxn>
                    <a:cxn ang="0">
                      <a:pos x="T117" y="T119"/>
                    </a:cxn>
                    <a:cxn ang="0">
                      <a:pos x="T121" y="T123"/>
                    </a:cxn>
                    <a:cxn ang="0">
                      <a:pos x="T125" y="T127"/>
                    </a:cxn>
                    <a:cxn ang="0">
                      <a:pos x="T129" y="T131"/>
                    </a:cxn>
                  </a:cxnLst>
                  <a:rect l="0" t="0" r="r" b="b"/>
                  <a:pathLst>
                    <a:path w="1170" h="3783">
                      <a:moveTo>
                        <a:pt x="974" y="3715"/>
                      </a:moveTo>
                      <a:lnTo>
                        <a:pt x="968" y="3715"/>
                      </a:lnTo>
                      <a:lnTo>
                        <a:pt x="963" y="3709"/>
                      </a:lnTo>
                      <a:lnTo>
                        <a:pt x="963" y="3704"/>
                      </a:lnTo>
                      <a:lnTo>
                        <a:pt x="963" y="11"/>
                      </a:lnTo>
                      <a:lnTo>
                        <a:pt x="963" y="5"/>
                      </a:lnTo>
                      <a:lnTo>
                        <a:pt x="959" y="0"/>
                      </a:lnTo>
                      <a:lnTo>
                        <a:pt x="953" y="0"/>
                      </a:lnTo>
                      <a:lnTo>
                        <a:pt x="217" y="0"/>
                      </a:lnTo>
                      <a:lnTo>
                        <a:pt x="212" y="0"/>
                      </a:lnTo>
                      <a:lnTo>
                        <a:pt x="207" y="5"/>
                      </a:lnTo>
                      <a:lnTo>
                        <a:pt x="207" y="11"/>
                      </a:lnTo>
                      <a:lnTo>
                        <a:pt x="207" y="3704"/>
                      </a:lnTo>
                      <a:lnTo>
                        <a:pt x="207" y="3709"/>
                      </a:lnTo>
                      <a:lnTo>
                        <a:pt x="202" y="3715"/>
                      </a:lnTo>
                      <a:lnTo>
                        <a:pt x="197" y="3715"/>
                      </a:lnTo>
                      <a:lnTo>
                        <a:pt x="10" y="3740"/>
                      </a:lnTo>
                      <a:lnTo>
                        <a:pt x="5" y="3741"/>
                      </a:lnTo>
                      <a:lnTo>
                        <a:pt x="0" y="3746"/>
                      </a:lnTo>
                      <a:lnTo>
                        <a:pt x="0" y="3752"/>
                      </a:lnTo>
                      <a:lnTo>
                        <a:pt x="0" y="3773"/>
                      </a:lnTo>
                      <a:lnTo>
                        <a:pt x="0" y="3779"/>
                      </a:lnTo>
                      <a:lnTo>
                        <a:pt x="5" y="3784"/>
                      </a:lnTo>
                      <a:lnTo>
                        <a:pt x="10" y="3784"/>
                      </a:lnTo>
                      <a:lnTo>
                        <a:pt x="197" y="3784"/>
                      </a:lnTo>
                      <a:lnTo>
                        <a:pt x="1166" y="3784"/>
                      </a:lnTo>
                      <a:lnTo>
                        <a:pt x="1170" y="3779"/>
                      </a:lnTo>
                      <a:lnTo>
                        <a:pt x="1170" y="3773"/>
                      </a:lnTo>
                      <a:lnTo>
                        <a:pt x="1170" y="3752"/>
                      </a:lnTo>
                      <a:lnTo>
                        <a:pt x="1170" y="3746"/>
                      </a:lnTo>
                      <a:lnTo>
                        <a:pt x="1166" y="3741"/>
                      </a:lnTo>
                      <a:lnTo>
                        <a:pt x="1160" y="3740"/>
                      </a:lnTo>
                      <a:lnTo>
                        <a:pt x="974" y="3715"/>
                      </a:lnTo>
                      <a:close/>
                    </a:path>
                  </a:pathLst>
                </a:custGeom>
                <a:noFill/>
                <a:ln w="1168">
                  <a:solidFill>
                    <a:srgbClr val="1C1E1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27" name="Group 13"/>
              <p:cNvGrpSpPr>
                <a:grpSpLocks/>
              </p:cNvGrpSpPr>
              <p:nvPr/>
            </p:nvGrpSpPr>
            <p:grpSpPr bwMode="auto">
              <a:xfrm>
                <a:off x="2337933" y="1648460"/>
                <a:ext cx="57052" cy="56515"/>
                <a:chOff x="1534" y="4559"/>
                <a:chExt cx="90" cy="89"/>
              </a:xfrm>
            </p:grpSpPr>
            <p:sp>
              <p:nvSpPr>
                <p:cNvPr id="62" name="Freeform 14"/>
                <p:cNvSpPr>
                  <a:spLocks/>
                </p:cNvSpPr>
                <p:nvPr/>
              </p:nvSpPr>
              <p:spPr bwMode="auto">
                <a:xfrm>
                  <a:off x="1534" y="4559"/>
                  <a:ext cx="90" cy="89"/>
                </a:xfrm>
                <a:custGeom>
                  <a:avLst/>
                  <a:gdLst>
                    <a:gd name="T0" fmla="+- 0 1603 1534"/>
                    <a:gd name="T1" fmla="*/ T0 w 90"/>
                    <a:gd name="T2" fmla="+- 0 4566 4559"/>
                    <a:gd name="T3" fmla="*/ 4566 h 89"/>
                    <a:gd name="T4" fmla="+- 0 1579 1534"/>
                    <a:gd name="T5" fmla="*/ T4 w 90"/>
                    <a:gd name="T6" fmla="+- 0 4566 4559"/>
                    <a:gd name="T7" fmla="*/ 4566 h 89"/>
                    <a:gd name="T8" fmla="+- 0 1603 1534"/>
                    <a:gd name="T9" fmla="*/ T8 w 90"/>
                    <a:gd name="T10" fmla="+- 0 4611 4559"/>
                    <a:gd name="T11" fmla="*/ 4611 h 89"/>
                    <a:gd name="T12" fmla="+- 0 1587 1534"/>
                    <a:gd name="T13" fmla="*/ T12 w 90"/>
                    <a:gd name="T14" fmla="+- 0 4611 4559"/>
                    <a:gd name="T15" fmla="*/ 4611 h 89"/>
                    <a:gd name="T16" fmla="+- 0 1587 1534"/>
                    <a:gd name="T17" fmla="*/ T16 w 90"/>
                    <a:gd name="T18" fmla="+- 0 4648 4559"/>
                    <a:gd name="T19" fmla="*/ 4648 h 89"/>
                    <a:gd name="T20" fmla="+- 0 1606 1534"/>
                    <a:gd name="T21" fmla="*/ T20 w 90"/>
                    <a:gd name="T22" fmla="+- 0 4640 4559"/>
                    <a:gd name="T23" fmla="*/ 4640 h 89"/>
                    <a:gd name="T24" fmla="+- 0 1620 1534"/>
                    <a:gd name="T25" fmla="*/ T24 w 90"/>
                    <a:gd name="T26" fmla="+- 0 4623 4559"/>
                    <a:gd name="T27" fmla="*/ 4623 h 89"/>
                    <a:gd name="T28" fmla="+- 0 1624 1534"/>
                    <a:gd name="T29" fmla="*/ T28 w 90"/>
                    <a:gd name="T30" fmla="+- 0 4604 4559"/>
                    <a:gd name="T31" fmla="*/ 4604 h 89"/>
                    <a:gd name="T32" fmla="+- 0 1618 1534"/>
                    <a:gd name="T33" fmla="*/ T32 w 90"/>
                    <a:gd name="T34" fmla="+- 0 4583 4559"/>
                    <a:gd name="T35" fmla="*/ 4583 h 89"/>
                    <a:gd name="T36" fmla="+- 0 1604 1534"/>
                    <a:gd name="T37" fmla="*/ T36 w 90"/>
                    <a:gd name="T38" fmla="+- 0 4567 4559"/>
                    <a:gd name="T39" fmla="*/ 4567 h 89"/>
                    <a:gd name="T40" fmla="+- 0 1603 1534"/>
                    <a:gd name="T41" fmla="*/ T40 w 90"/>
                    <a:gd name="T42" fmla="+- 0 4566 4559"/>
                    <a:gd name="T43" fmla="*/ 4566 h 8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</a:cxnLst>
                  <a:rect l="0" t="0" r="r" b="b"/>
                  <a:pathLst>
                    <a:path w="90" h="89">
                      <a:moveTo>
                        <a:pt x="69" y="7"/>
                      </a:moveTo>
                      <a:lnTo>
                        <a:pt x="45" y="7"/>
                      </a:lnTo>
                      <a:lnTo>
                        <a:pt x="69" y="52"/>
                      </a:lnTo>
                      <a:lnTo>
                        <a:pt x="53" y="52"/>
                      </a:lnTo>
                      <a:lnTo>
                        <a:pt x="53" y="89"/>
                      </a:lnTo>
                      <a:lnTo>
                        <a:pt x="72" y="81"/>
                      </a:lnTo>
                      <a:lnTo>
                        <a:pt x="86" y="64"/>
                      </a:lnTo>
                      <a:lnTo>
                        <a:pt x="90" y="45"/>
                      </a:lnTo>
                      <a:lnTo>
                        <a:pt x="84" y="24"/>
                      </a:lnTo>
                      <a:lnTo>
                        <a:pt x="70" y="8"/>
                      </a:lnTo>
                      <a:lnTo>
                        <a:pt x="69" y="7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  <p:sp>
              <p:nvSpPr>
                <p:cNvPr id="63" name="Freeform 15"/>
                <p:cNvSpPr>
                  <a:spLocks/>
                </p:cNvSpPr>
                <p:nvPr/>
              </p:nvSpPr>
              <p:spPr bwMode="auto">
                <a:xfrm>
                  <a:off x="1534" y="4559"/>
                  <a:ext cx="90" cy="89"/>
                </a:xfrm>
                <a:custGeom>
                  <a:avLst/>
                  <a:gdLst>
                    <a:gd name="T0" fmla="+- 0 1583 1534"/>
                    <a:gd name="T1" fmla="*/ T0 w 90"/>
                    <a:gd name="T2" fmla="+- 0 4559 4559"/>
                    <a:gd name="T3" fmla="*/ 4559 h 89"/>
                    <a:gd name="T4" fmla="+- 0 1560 1534"/>
                    <a:gd name="T5" fmla="*/ T4 w 90"/>
                    <a:gd name="T6" fmla="+- 0 4564 4559"/>
                    <a:gd name="T7" fmla="*/ 4564 h 89"/>
                    <a:gd name="T8" fmla="+- 0 1543 1534"/>
                    <a:gd name="T9" fmla="*/ T8 w 90"/>
                    <a:gd name="T10" fmla="+- 0 4577 4559"/>
                    <a:gd name="T11" fmla="*/ 4577 h 89"/>
                    <a:gd name="T12" fmla="+- 0 1534 1534"/>
                    <a:gd name="T13" fmla="*/ T12 w 90"/>
                    <a:gd name="T14" fmla="+- 0 4596 4559"/>
                    <a:gd name="T15" fmla="*/ 4596 h 89"/>
                    <a:gd name="T16" fmla="+- 0 1538 1534"/>
                    <a:gd name="T17" fmla="*/ T16 w 90"/>
                    <a:gd name="T18" fmla="+- 0 4621 4559"/>
                    <a:gd name="T19" fmla="*/ 4621 h 89"/>
                    <a:gd name="T20" fmla="+- 0 1550 1534"/>
                    <a:gd name="T21" fmla="*/ T20 w 90"/>
                    <a:gd name="T22" fmla="+- 0 4638 4559"/>
                    <a:gd name="T23" fmla="*/ 4638 h 89"/>
                    <a:gd name="T24" fmla="+- 0 1566 1534"/>
                    <a:gd name="T25" fmla="*/ T24 w 90"/>
                    <a:gd name="T26" fmla="+- 0 4647 4559"/>
                    <a:gd name="T27" fmla="*/ 4647 h 89"/>
                    <a:gd name="T28" fmla="+- 0 1571 1534"/>
                    <a:gd name="T29" fmla="*/ T28 w 90"/>
                    <a:gd name="T30" fmla="+- 0 4611 4559"/>
                    <a:gd name="T31" fmla="*/ 4611 h 89"/>
                    <a:gd name="T32" fmla="+- 0 1554 1534"/>
                    <a:gd name="T33" fmla="*/ T32 w 90"/>
                    <a:gd name="T34" fmla="+- 0 4611 4559"/>
                    <a:gd name="T35" fmla="*/ 4611 h 89"/>
                    <a:gd name="T36" fmla="+- 0 1579 1534"/>
                    <a:gd name="T37" fmla="*/ T36 w 90"/>
                    <a:gd name="T38" fmla="+- 0 4566 4559"/>
                    <a:gd name="T39" fmla="*/ 4566 h 89"/>
                    <a:gd name="T40" fmla="+- 0 1603 1534"/>
                    <a:gd name="T41" fmla="*/ T40 w 90"/>
                    <a:gd name="T42" fmla="+- 0 4566 4559"/>
                    <a:gd name="T43" fmla="*/ 4566 h 89"/>
                    <a:gd name="T44" fmla="+- 0 1583 1534"/>
                    <a:gd name="T45" fmla="*/ T44 w 90"/>
                    <a:gd name="T46" fmla="+- 0 4559 4559"/>
                    <a:gd name="T47" fmla="*/ 4559 h 8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  <a:cxn ang="0">
                      <a:pos x="T45" y="T47"/>
                    </a:cxn>
                  </a:cxnLst>
                  <a:rect l="0" t="0" r="r" b="b"/>
                  <a:pathLst>
                    <a:path w="90" h="89">
                      <a:moveTo>
                        <a:pt x="49" y="0"/>
                      </a:moveTo>
                      <a:lnTo>
                        <a:pt x="26" y="5"/>
                      </a:lnTo>
                      <a:lnTo>
                        <a:pt x="9" y="18"/>
                      </a:lnTo>
                      <a:lnTo>
                        <a:pt x="0" y="37"/>
                      </a:lnTo>
                      <a:lnTo>
                        <a:pt x="4" y="62"/>
                      </a:lnTo>
                      <a:lnTo>
                        <a:pt x="16" y="79"/>
                      </a:lnTo>
                      <a:lnTo>
                        <a:pt x="32" y="88"/>
                      </a:lnTo>
                      <a:lnTo>
                        <a:pt x="37" y="52"/>
                      </a:lnTo>
                      <a:lnTo>
                        <a:pt x="20" y="52"/>
                      </a:lnTo>
                      <a:lnTo>
                        <a:pt x="45" y="7"/>
                      </a:lnTo>
                      <a:lnTo>
                        <a:pt x="69" y="7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29" name="Group 16"/>
              <p:cNvGrpSpPr>
                <a:grpSpLocks/>
              </p:cNvGrpSpPr>
              <p:nvPr/>
            </p:nvGrpSpPr>
            <p:grpSpPr bwMode="auto">
              <a:xfrm>
                <a:off x="2337933" y="1807210"/>
                <a:ext cx="57052" cy="56515"/>
                <a:chOff x="1534" y="4809"/>
                <a:chExt cx="90" cy="89"/>
              </a:xfrm>
            </p:grpSpPr>
            <p:sp>
              <p:nvSpPr>
                <p:cNvPr id="60" name="Freeform 17"/>
                <p:cNvSpPr>
                  <a:spLocks/>
                </p:cNvSpPr>
                <p:nvPr/>
              </p:nvSpPr>
              <p:spPr bwMode="auto">
                <a:xfrm>
                  <a:off x="1534" y="4809"/>
                  <a:ext cx="90" cy="89"/>
                </a:xfrm>
                <a:custGeom>
                  <a:avLst/>
                  <a:gdLst>
                    <a:gd name="T0" fmla="+- 0 1571 1534"/>
                    <a:gd name="T1" fmla="*/ T0 w 90"/>
                    <a:gd name="T2" fmla="+- 0 4809 4809"/>
                    <a:gd name="T3" fmla="*/ 4809 h 89"/>
                    <a:gd name="T4" fmla="+- 0 1551 1534"/>
                    <a:gd name="T5" fmla="*/ T4 w 90"/>
                    <a:gd name="T6" fmla="+- 0 4818 4809"/>
                    <a:gd name="T7" fmla="*/ 4818 h 89"/>
                    <a:gd name="T8" fmla="+- 0 1538 1534"/>
                    <a:gd name="T9" fmla="*/ T8 w 90"/>
                    <a:gd name="T10" fmla="+- 0 4834 4809"/>
                    <a:gd name="T11" fmla="*/ 4834 h 89"/>
                    <a:gd name="T12" fmla="+- 0 1534 1534"/>
                    <a:gd name="T13" fmla="*/ T12 w 90"/>
                    <a:gd name="T14" fmla="+- 0 4853 4809"/>
                    <a:gd name="T15" fmla="*/ 4853 h 89"/>
                    <a:gd name="T16" fmla="+- 0 1539 1534"/>
                    <a:gd name="T17" fmla="*/ T16 w 90"/>
                    <a:gd name="T18" fmla="+- 0 4875 4809"/>
                    <a:gd name="T19" fmla="*/ 4875 h 89"/>
                    <a:gd name="T20" fmla="+- 0 1554 1534"/>
                    <a:gd name="T21" fmla="*/ T20 w 90"/>
                    <a:gd name="T22" fmla="+- 0 4891 4809"/>
                    <a:gd name="T23" fmla="*/ 4891 h 89"/>
                    <a:gd name="T24" fmla="+- 0 1574 1534"/>
                    <a:gd name="T25" fmla="*/ T24 w 90"/>
                    <a:gd name="T26" fmla="+- 0 4898 4809"/>
                    <a:gd name="T27" fmla="*/ 4898 h 89"/>
                    <a:gd name="T28" fmla="+- 0 1598 1534"/>
                    <a:gd name="T29" fmla="*/ T28 w 90"/>
                    <a:gd name="T30" fmla="+- 0 4893 4809"/>
                    <a:gd name="T31" fmla="*/ 4893 h 89"/>
                    <a:gd name="T32" fmla="+- 0 1601 1534"/>
                    <a:gd name="T33" fmla="*/ T32 w 90"/>
                    <a:gd name="T34" fmla="+- 0 4891 4809"/>
                    <a:gd name="T35" fmla="*/ 4891 h 89"/>
                    <a:gd name="T36" fmla="+- 0 1579 1534"/>
                    <a:gd name="T37" fmla="*/ T36 w 90"/>
                    <a:gd name="T38" fmla="+- 0 4891 4809"/>
                    <a:gd name="T39" fmla="*/ 4891 h 89"/>
                    <a:gd name="T40" fmla="+- 0 1554 1534"/>
                    <a:gd name="T41" fmla="*/ T40 w 90"/>
                    <a:gd name="T42" fmla="+- 0 4846 4809"/>
                    <a:gd name="T43" fmla="*/ 4846 h 89"/>
                    <a:gd name="T44" fmla="+- 0 1571 1534"/>
                    <a:gd name="T45" fmla="*/ T44 w 90"/>
                    <a:gd name="T46" fmla="+- 0 4846 4809"/>
                    <a:gd name="T47" fmla="*/ 4846 h 89"/>
                    <a:gd name="T48" fmla="+- 0 1571 1534"/>
                    <a:gd name="T49" fmla="*/ T48 w 90"/>
                    <a:gd name="T50" fmla="+- 0 4809 4809"/>
                    <a:gd name="T51" fmla="*/ 4809 h 8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  <a:cxn ang="0">
                      <a:pos x="T45" y="T47"/>
                    </a:cxn>
                    <a:cxn ang="0">
                      <a:pos x="T49" y="T51"/>
                    </a:cxn>
                  </a:cxnLst>
                  <a:rect l="0" t="0" r="r" b="b"/>
                  <a:pathLst>
                    <a:path w="90" h="89">
                      <a:moveTo>
                        <a:pt x="37" y="0"/>
                      </a:moveTo>
                      <a:lnTo>
                        <a:pt x="17" y="9"/>
                      </a:lnTo>
                      <a:lnTo>
                        <a:pt x="4" y="25"/>
                      </a:lnTo>
                      <a:lnTo>
                        <a:pt x="0" y="44"/>
                      </a:lnTo>
                      <a:lnTo>
                        <a:pt x="5" y="66"/>
                      </a:lnTo>
                      <a:lnTo>
                        <a:pt x="20" y="82"/>
                      </a:lnTo>
                      <a:lnTo>
                        <a:pt x="40" y="89"/>
                      </a:lnTo>
                      <a:lnTo>
                        <a:pt x="64" y="84"/>
                      </a:lnTo>
                      <a:lnTo>
                        <a:pt x="67" y="82"/>
                      </a:lnTo>
                      <a:lnTo>
                        <a:pt x="45" y="82"/>
                      </a:lnTo>
                      <a:lnTo>
                        <a:pt x="20" y="37"/>
                      </a:lnTo>
                      <a:lnTo>
                        <a:pt x="37" y="37"/>
                      </a:lnTo>
                      <a:lnTo>
                        <a:pt x="37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  <p:sp>
              <p:nvSpPr>
                <p:cNvPr id="61" name="Freeform 18"/>
                <p:cNvSpPr>
                  <a:spLocks/>
                </p:cNvSpPr>
                <p:nvPr/>
              </p:nvSpPr>
              <p:spPr bwMode="auto">
                <a:xfrm>
                  <a:off x="1534" y="4809"/>
                  <a:ext cx="90" cy="89"/>
                </a:xfrm>
                <a:custGeom>
                  <a:avLst/>
                  <a:gdLst>
                    <a:gd name="T0" fmla="+- 0 1591 1534"/>
                    <a:gd name="T1" fmla="*/ T0 w 90"/>
                    <a:gd name="T2" fmla="+- 0 4810 4809"/>
                    <a:gd name="T3" fmla="*/ 4810 h 89"/>
                    <a:gd name="T4" fmla="+- 0 1587 1534"/>
                    <a:gd name="T5" fmla="*/ T4 w 90"/>
                    <a:gd name="T6" fmla="+- 0 4846 4809"/>
                    <a:gd name="T7" fmla="*/ 4846 h 89"/>
                    <a:gd name="T8" fmla="+- 0 1603 1534"/>
                    <a:gd name="T9" fmla="*/ T8 w 90"/>
                    <a:gd name="T10" fmla="+- 0 4846 4809"/>
                    <a:gd name="T11" fmla="*/ 4846 h 89"/>
                    <a:gd name="T12" fmla="+- 0 1579 1534"/>
                    <a:gd name="T13" fmla="*/ T12 w 90"/>
                    <a:gd name="T14" fmla="+- 0 4891 4809"/>
                    <a:gd name="T15" fmla="*/ 4891 h 89"/>
                    <a:gd name="T16" fmla="+- 0 1601 1534"/>
                    <a:gd name="T17" fmla="*/ T16 w 90"/>
                    <a:gd name="T18" fmla="+- 0 4891 4809"/>
                    <a:gd name="T19" fmla="*/ 4891 h 89"/>
                    <a:gd name="T20" fmla="+- 0 1615 1534"/>
                    <a:gd name="T21" fmla="*/ T20 w 90"/>
                    <a:gd name="T22" fmla="+- 0 4880 4809"/>
                    <a:gd name="T23" fmla="*/ 4880 h 89"/>
                    <a:gd name="T24" fmla="+- 0 1623 1534"/>
                    <a:gd name="T25" fmla="*/ T24 w 90"/>
                    <a:gd name="T26" fmla="+- 0 4861 4809"/>
                    <a:gd name="T27" fmla="*/ 4861 h 89"/>
                    <a:gd name="T28" fmla="+- 0 1619 1534"/>
                    <a:gd name="T29" fmla="*/ T28 w 90"/>
                    <a:gd name="T30" fmla="+- 0 4837 4809"/>
                    <a:gd name="T31" fmla="*/ 4837 h 89"/>
                    <a:gd name="T32" fmla="+- 0 1608 1534"/>
                    <a:gd name="T33" fmla="*/ T32 w 90"/>
                    <a:gd name="T34" fmla="+- 0 4819 4809"/>
                    <a:gd name="T35" fmla="*/ 4819 h 89"/>
                    <a:gd name="T36" fmla="+- 0 1591 1534"/>
                    <a:gd name="T37" fmla="*/ T36 w 90"/>
                    <a:gd name="T38" fmla="+- 0 4810 4809"/>
                    <a:gd name="T39" fmla="*/ 4810 h 8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</a:cxnLst>
                  <a:rect l="0" t="0" r="r" b="b"/>
                  <a:pathLst>
                    <a:path w="90" h="89">
                      <a:moveTo>
                        <a:pt x="57" y="1"/>
                      </a:moveTo>
                      <a:lnTo>
                        <a:pt x="53" y="37"/>
                      </a:lnTo>
                      <a:lnTo>
                        <a:pt x="69" y="37"/>
                      </a:lnTo>
                      <a:lnTo>
                        <a:pt x="45" y="82"/>
                      </a:lnTo>
                      <a:lnTo>
                        <a:pt x="67" y="82"/>
                      </a:lnTo>
                      <a:lnTo>
                        <a:pt x="81" y="71"/>
                      </a:lnTo>
                      <a:lnTo>
                        <a:pt x="89" y="52"/>
                      </a:lnTo>
                      <a:lnTo>
                        <a:pt x="85" y="28"/>
                      </a:lnTo>
                      <a:lnTo>
                        <a:pt x="74" y="10"/>
                      </a:lnTo>
                      <a:lnTo>
                        <a:pt x="57" y="1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32" name="Group 19"/>
              <p:cNvGrpSpPr>
                <a:grpSpLocks/>
              </p:cNvGrpSpPr>
              <p:nvPr/>
            </p:nvGrpSpPr>
            <p:grpSpPr bwMode="auto">
              <a:xfrm>
                <a:off x="2358852" y="1967230"/>
                <a:ext cx="1268" cy="34925"/>
                <a:chOff x="1567" y="5061"/>
                <a:chExt cx="2" cy="55"/>
              </a:xfrm>
            </p:grpSpPr>
            <p:sp>
              <p:nvSpPr>
                <p:cNvPr id="59" name="Freeform 20"/>
                <p:cNvSpPr>
                  <a:spLocks/>
                </p:cNvSpPr>
                <p:nvPr/>
              </p:nvSpPr>
              <p:spPr bwMode="auto">
                <a:xfrm>
                  <a:off x="1567" y="5061"/>
                  <a:ext cx="2" cy="55"/>
                </a:xfrm>
                <a:custGeom>
                  <a:avLst/>
                  <a:gdLst>
                    <a:gd name="T0" fmla="+- 0 5061 5061"/>
                    <a:gd name="T1" fmla="*/ 5061 h 55"/>
                    <a:gd name="T2" fmla="+- 0 5116 5061"/>
                    <a:gd name="T3" fmla="*/ 5116 h 55"/>
                  </a:gdLst>
                  <a:ahLst/>
                  <a:cxnLst>
                    <a:cxn ang="0">
                      <a:pos x="0" y="T1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55">
                      <a:moveTo>
                        <a:pt x="0" y="0"/>
                      </a:moveTo>
                      <a:lnTo>
                        <a:pt x="0" y="55"/>
                      </a:lnTo>
                    </a:path>
                  </a:pathLst>
                </a:custGeom>
                <a:noFill/>
                <a:ln w="6972">
                  <a:solidFill>
                    <a:srgbClr val="221F1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33" name="Group 21"/>
              <p:cNvGrpSpPr>
                <a:grpSpLocks/>
              </p:cNvGrpSpPr>
              <p:nvPr/>
            </p:nvGrpSpPr>
            <p:grpSpPr bwMode="auto">
              <a:xfrm>
                <a:off x="2330960" y="1971040"/>
                <a:ext cx="53883" cy="55880"/>
                <a:chOff x="1523" y="5067"/>
                <a:chExt cx="85" cy="88"/>
              </a:xfrm>
            </p:grpSpPr>
            <p:sp>
              <p:nvSpPr>
                <p:cNvPr id="57" name="Freeform 22"/>
                <p:cNvSpPr>
                  <a:spLocks/>
                </p:cNvSpPr>
                <p:nvPr/>
              </p:nvSpPr>
              <p:spPr bwMode="auto">
                <a:xfrm>
                  <a:off x="1523" y="5067"/>
                  <a:ext cx="85" cy="88"/>
                </a:xfrm>
                <a:custGeom>
                  <a:avLst/>
                  <a:gdLst>
                    <a:gd name="T0" fmla="+- 0 1540 1523"/>
                    <a:gd name="T1" fmla="*/ T0 w 85"/>
                    <a:gd name="T2" fmla="+- 0 5075 5067"/>
                    <a:gd name="T3" fmla="*/ 5075 h 88"/>
                    <a:gd name="T4" fmla="+- 0 1527 1523"/>
                    <a:gd name="T5" fmla="*/ T4 w 85"/>
                    <a:gd name="T6" fmla="+- 0 5091 5067"/>
                    <a:gd name="T7" fmla="*/ 5091 h 88"/>
                    <a:gd name="T8" fmla="+- 0 1523 1523"/>
                    <a:gd name="T9" fmla="*/ T8 w 85"/>
                    <a:gd name="T10" fmla="+- 0 5113 5067"/>
                    <a:gd name="T11" fmla="*/ 5113 h 88"/>
                    <a:gd name="T12" fmla="+- 0 1530 1523"/>
                    <a:gd name="T13" fmla="*/ T12 w 85"/>
                    <a:gd name="T14" fmla="+- 0 5134 5067"/>
                    <a:gd name="T15" fmla="*/ 5134 h 88"/>
                    <a:gd name="T16" fmla="+- 0 1545 1523"/>
                    <a:gd name="T17" fmla="*/ T16 w 85"/>
                    <a:gd name="T18" fmla="+- 0 5149 5067"/>
                    <a:gd name="T19" fmla="*/ 5149 h 88"/>
                    <a:gd name="T20" fmla="+- 0 1567 1523"/>
                    <a:gd name="T21" fmla="*/ T20 w 85"/>
                    <a:gd name="T22" fmla="+- 0 5155 5067"/>
                    <a:gd name="T23" fmla="*/ 5155 h 88"/>
                    <a:gd name="T24" fmla="+- 0 1582 1523"/>
                    <a:gd name="T25" fmla="*/ T24 w 85"/>
                    <a:gd name="T26" fmla="+- 0 5152 5067"/>
                    <a:gd name="T27" fmla="*/ 5152 h 88"/>
                    <a:gd name="T28" fmla="+- 0 1593 1523"/>
                    <a:gd name="T29" fmla="*/ T28 w 85"/>
                    <a:gd name="T30" fmla="+- 0 5143 5067"/>
                    <a:gd name="T31" fmla="*/ 5143 h 88"/>
                    <a:gd name="T32" fmla="+- 0 1552 1523"/>
                    <a:gd name="T33" fmla="*/ T32 w 85"/>
                    <a:gd name="T34" fmla="+- 0 5143 5067"/>
                    <a:gd name="T35" fmla="*/ 5143 h 88"/>
                    <a:gd name="T36" fmla="+- 0 1537 1523"/>
                    <a:gd name="T37" fmla="*/ T36 w 85"/>
                    <a:gd name="T38" fmla="+- 0 5129 5067"/>
                    <a:gd name="T39" fmla="*/ 5129 h 88"/>
                    <a:gd name="T40" fmla="+- 0 1531 1523"/>
                    <a:gd name="T41" fmla="*/ T40 w 85"/>
                    <a:gd name="T42" fmla="+- 0 5106 5067"/>
                    <a:gd name="T43" fmla="*/ 5106 h 88"/>
                    <a:gd name="T44" fmla="+- 0 1539 1523"/>
                    <a:gd name="T45" fmla="*/ T44 w 85"/>
                    <a:gd name="T46" fmla="+- 0 5087 5067"/>
                    <a:gd name="T47" fmla="*/ 5087 h 88"/>
                    <a:gd name="T48" fmla="+- 0 1557 1523"/>
                    <a:gd name="T49" fmla="*/ T48 w 85"/>
                    <a:gd name="T50" fmla="+- 0 5075 5067"/>
                    <a:gd name="T51" fmla="*/ 5075 h 88"/>
                    <a:gd name="T52" fmla="+- 0 1540 1523"/>
                    <a:gd name="T53" fmla="*/ T52 w 85"/>
                    <a:gd name="T54" fmla="+- 0 5075 5067"/>
                    <a:gd name="T55" fmla="*/ 5075 h 88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  <a:cxn ang="0">
                      <a:pos x="T45" y="T47"/>
                    </a:cxn>
                    <a:cxn ang="0">
                      <a:pos x="T49" y="T51"/>
                    </a:cxn>
                    <a:cxn ang="0">
                      <a:pos x="T53" y="T55"/>
                    </a:cxn>
                  </a:cxnLst>
                  <a:rect l="0" t="0" r="r" b="b"/>
                  <a:pathLst>
                    <a:path w="85" h="88">
                      <a:moveTo>
                        <a:pt x="17" y="8"/>
                      </a:moveTo>
                      <a:lnTo>
                        <a:pt x="4" y="24"/>
                      </a:lnTo>
                      <a:lnTo>
                        <a:pt x="0" y="46"/>
                      </a:lnTo>
                      <a:lnTo>
                        <a:pt x="7" y="67"/>
                      </a:lnTo>
                      <a:lnTo>
                        <a:pt x="22" y="82"/>
                      </a:lnTo>
                      <a:lnTo>
                        <a:pt x="44" y="88"/>
                      </a:lnTo>
                      <a:lnTo>
                        <a:pt x="59" y="85"/>
                      </a:lnTo>
                      <a:lnTo>
                        <a:pt x="70" y="76"/>
                      </a:lnTo>
                      <a:lnTo>
                        <a:pt x="29" y="76"/>
                      </a:lnTo>
                      <a:lnTo>
                        <a:pt x="14" y="62"/>
                      </a:lnTo>
                      <a:lnTo>
                        <a:pt x="8" y="39"/>
                      </a:lnTo>
                      <a:lnTo>
                        <a:pt x="16" y="20"/>
                      </a:lnTo>
                      <a:lnTo>
                        <a:pt x="34" y="8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  <p:sp>
              <p:nvSpPr>
                <p:cNvPr id="58" name="Freeform 23"/>
                <p:cNvSpPr>
                  <a:spLocks/>
                </p:cNvSpPr>
                <p:nvPr/>
              </p:nvSpPr>
              <p:spPr bwMode="auto">
                <a:xfrm>
                  <a:off x="1523" y="5067"/>
                  <a:ext cx="85" cy="88"/>
                </a:xfrm>
                <a:custGeom>
                  <a:avLst/>
                  <a:gdLst>
                    <a:gd name="T0" fmla="+- 0 1576 1523"/>
                    <a:gd name="T1" fmla="*/ T0 w 85"/>
                    <a:gd name="T2" fmla="+- 0 5067 5067"/>
                    <a:gd name="T3" fmla="*/ 5067 h 88"/>
                    <a:gd name="T4" fmla="+- 0 1576 1523"/>
                    <a:gd name="T5" fmla="*/ T4 w 85"/>
                    <a:gd name="T6" fmla="+- 0 5075 5067"/>
                    <a:gd name="T7" fmla="*/ 5075 h 88"/>
                    <a:gd name="T8" fmla="+- 0 1583 1523"/>
                    <a:gd name="T9" fmla="*/ T8 w 85"/>
                    <a:gd name="T10" fmla="+- 0 5078 5067"/>
                    <a:gd name="T11" fmla="*/ 5078 h 88"/>
                    <a:gd name="T12" fmla="+- 0 1598 1523"/>
                    <a:gd name="T13" fmla="*/ T12 w 85"/>
                    <a:gd name="T14" fmla="+- 0 5092 5067"/>
                    <a:gd name="T15" fmla="*/ 5092 h 88"/>
                    <a:gd name="T16" fmla="+- 0 1603 1523"/>
                    <a:gd name="T17" fmla="*/ T16 w 85"/>
                    <a:gd name="T18" fmla="+- 0 5115 5067"/>
                    <a:gd name="T19" fmla="*/ 5115 h 88"/>
                    <a:gd name="T20" fmla="+- 0 1596 1523"/>
                    <a:gd name="T21" fmla="*/ T20 w 85"/>
                    <a:gd name="T22" fmla="+- 0 5131 5067"/>
                    <a:gd name="T23" fmla="*/ 5131 h 88"/>
                    <a:gd name="T24" fmla="+- 0 1579 1523"/>
                    <a:gd name="T25" fmla="*/ T24 w 85"/>
                    <a:gd name="T26" fmla="+- 0 5141 5067"/>
                    <a:gd name="T27" fmla="*/ 5141 h 88"/>
                    <a:gd name="T28" fmla="+- 0 1552 1523"/>
                    <a:gd name="T29" fmla="*/ T28 w 85"/>
                    <a:gd name="T30" fmla="+- 0 5143 5067"/>
                    <a:gd name="T31" fmla="*/ 5143 h 88"/>
                    <a:gd name="T32" fmla="+- 0 1593 1523"/>
                    <a:gd name="T33" fmla="*/ T32 w 85"/>
                    <a:gd name="T34" fmla="+- 0 5143 5067"/>
                    <a:gd name="T35" fmla="*/ 5143 h 88"/>
                    <a:gd name="T36" fmla="+- 0 1597 1523"/>
                    <a:gd name="T37" fmla="*/ T36 w 85"/>
                    <a:gd name="T38" fmla="+- 0 5141 5067"/>
                    <a:gd name="T39" fmla="*/ 5141 h 88"/>
                    <a:gd name="T40" fmla="+- 0 1606 1523"/>
                    <a:gd name="T41" fmla="*/ T40 w 85"/>
                    <a:gd name="T42" fmla="+- 0 5122 5067"/>
                    <a:gd name="T43" fmla="*/ 5122 h 88"/>
                    <a:gd name="T44" fmla="+- 0 1608 1523"/>
                    <a:gd name="T45" fmla="*/ T44 w 85"/>
                    <a:gd name="T46" fmla="+- 0 5094 5067"/>
                    <a:gd name="T47" fmla="*/ 5094 h 88"/>
                    <a:gd name="T48" fmla="+- 0 1596 1523"/>
                    <a:gd name="T49" fmla="*/ T48 w 85"/>
                    <a:gd name="T50" fmla="+- 0 5077 5067"/>
                    <a:gd name="T51" fmla="*/ 5077 h 88"/>
                    <a:gd name="T52" fmla="+- 0 1576 1523"/>
                    <a:gd name="T53" fmla="*/ T52 w 85"/>
                    <a:gd name="T54" fmla="+- 0 5067 5067"/>
                    <a:gd name="T55" fmla="*/ 5067 h 88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  <a:cxn ang="0">
                      <a:pos x="T45" y="T47"/>
                    </a:cxn>
                    <a:cxn ang="0">
                      <a:pos x="T49" y="T51"/>
                    </a:cxn>
                    <a:cxn ang="0">
                      <a:pos x="T53" y="T55"/>
                    </a:cxn>
                  </a:cxnLst>
                  <a:rect l="0" t="0" r="r" b="b"/>
                  <a:pathLst>
                    <a:path w="85" h="88">
                      <a:moveTo>
                        <a:pt x="53" y="0"/>
                      </a:moveTo>
                      <a:lnTo>
                        <a:pt x="53" y="8"/>
                      </a:lnTo>
                      <a:lnTo>
                        <a:pt x="60" y="11"/>
                      </a:lnTo>
                      <a:lnTo>
                        <a:pt x="75" y="25"/>
                      </a:lnTo>
                      <a:lnTo>
                        <a:pt x="80" y="48"/>
                      </a:lnTo>
                      <a:lnTo>
                        <a:pt x="73" y="64"/>
                      </a:lnTo>
                      <a:lnTo>
                        <a:pt x="56" y="74"/>
                      </a:lnTo>
                      <a:lnTo>
                        <a:pt x="29" y="76"/>
                      </a:lnTo>
                      <a:lnTo>
                        <a:pt x="70" y="76"/>
                      </a:lnTo>
                      <a:lnTo>
                        <a:pt x="74" y="74"/>
                      </a:lnTo>
                      <a:lnTo>
                        <a:pt x="83" y="55"/>
                      </a:lnTo>
                      <a:lnTo>
                        <a:pt x="85" y="27"/>
                      </a:lnTo>
                      <a:lnTo>
                        <a:pt x="73" y="10"/>
                      </a:lnTo>
                      <a:lnTo>
                        <a:pt x="53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35" name="Group 24"/>
              <p:cNvGrpSpPr>
                <a:grpSpLocks/>
              </p:cNvGrpSpPr>
              <p:nvPr/>
            </p:nvGrpSpPr>
            <p:grpSpPr bwMode="auto">
              <a:xfrm>
                <a:off x="2439993" y="693420"/>
                <a:ext cx="27892" cy="27940"/>
                <a:chOff x="1695" y="3055"/>
                <a:chExt cx="44" cy="44"/>
              </a:xfrm>
            </p:grpSpPr>
            <p:sp>
              <p:nvSpPr>
                <p:cNvPr id="56" name="Freeform 25"/>
                <p:cNvSpPr>
                  <a:spLocks/>
                </p:cNvSpPr>
                <p:nvPr/>
              </p:nvSpPr>
              <p:spPr bwMode="auto">
                <a:xfrm>
                  <a:off x="1695" y="3055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3055 3055"/>
                    <a:gd name="T3" fmla="*/ 3055 h 44"/>
                    <a:gd name="T4" fmla="+- 0 1704 1695"/>
                    <a:gd name="T5" fmla="*/ T4 w 44"/>
                    <a:gd name="T6" fmla="+- 0 3055 3055"/>
                    <a:gd name="T7" fmla="*/ 3055 h 44"/>
                    <a:gd name="T8" fmla="+- 0 1695 1695"/>
                    <a:gd name="T9" fmla="*/ T8 w 44"/>
                    <a:gd name="T10" fmla="+- 0 3065 3055"/>
                    <a:gd name="T11" fmla="*/ 3065 h 44"/>
                    <a:gd name="T12" fmla="+- 0 1695 1695"/>
                    <a:gd name="T13" fmla="*/ T12 w 44"/>
                    <a:gd name="T14" fmla="+- 0 3089 3055"/>
                    <a:gd name="T15" fmla="*/ 3089 h 44"/>
                    <a:gd name="T16" fmla="+- 0 1704 1695"/>
                    <a:gd name="T17" fmla="*/ T16 w 44"/>
                    <a:gd name="T18" fmla="+- 0 3099 3055"/>
                    <a:gd name="T19" fmla="*/ 3099 h 44"/>
                    <a:gd name="T20" fmla="+- 0 1729 1695"/>
                    <a:gd name="T21" fmla="*/ T20 w 44"/>
                    <a:gd name="T22" fmla="+- 0 3099 3055"/>
                    <a:gd name="T23" fmla="*/ 3099 h 44"/>
                    <a:gd name="T24" fmla="+- 0 1739 1695"/>
                    <a:gd name="T25" fmla="*/ T24 w 44"/>
                    <a:gd name="T26" fmla="+- 0 3089 3055"/>
                    <a:gd name="T27" fmla="*/ 3089 h 44"/>
                    <a:gd name="T28" fmla="+- 0 1739 1695"/>
                    <a:gd name="T29" fmla="*/ T28 w 44"/>
                    <a:gd name="T30" fmla="+- 0 3065 3055"/>
                    <a:gd name="T31" fmla="*/ 3065 h 44"/>
                    <a:gd name="T32" fmla="+- 0 1729 1695"/>
                    <a:gd name="T33" fmla="*/ T32 w 44"/>
                    <a:gd name="T34" fmla="+- 0 3055 3055"/>
                    <a:gd name="T35" fmla="*/ 3055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37" name="Group 26"/>
              <p:cNvGrpSpPr>
                <a:grpSpLocks/>
              </p:cNvGrpSpPr>
              <p:nvPr/>
            </p:nvGrpSpPr>
            <p:grpSpPr bwMode="auto">
              <a:xfrm>
                <a:off x="2439993" y="854710"/>
                <a:ext cx="27892" cy="27940"/>
                <a:chOff x="1695" y="3309"/>
                <a:chExt cx="44" cy="44"/>
              </a:xfrm>
            </p:grpSpPr>
            <p:sp>
              <p:nvSpPr>
                <p:cNvPr id="55" name="Freeform 27"/>
                <p:cNvSpPr>
                  <a:spLocks/>
                </p:cNvSpPr>
                <p:nvPr/>
              </p:nvSpPr>
              <p:spPr bwMode="auto">
                <a:xfrm>
                  <a:off x="1695" y="3309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3309 3309"/>
                    <a:gd name="T3" fmla="*/ 3309 h 44"/>
                    <a:gd name="T4" fmla="+- 0 1704 1695"/>
                    <a:gd name="T5" fmla="*/ T4 w 44"/>
                    <a:gd name="T6" fmla="+- 0 3309 3309"/>
                    <a:gd name="T7" fmla="*/ 3309 h 44"/>
                    <a:gd name="T8" fmla="+- 0 1695 1695"/>
                    <a:gd name="T9" fmla="*/ T8 w 44"/>
                    <a:gd name="T10" fmla="+- 0 3319 3309"/>
                    <a:gd name="T11" fmla="*/ 3319 h 44"/>
                    <a:gd name="T12" fmla="+- 0 1695 1695"/>
                    <a:gd name="T13" fmla="*/ T12 w 44"/>
                    <a:gd name="T14" fmla="+- 0 3343 3309"/>
                    <a:gd name="T15" fmla="*/ 3343 h 44"/>
                    <a:gd name="T16" fmla="+- 0 1704 1695"/>
                    <a:gd name="T17" fmla="*/ T16 w 44"/>
                    <a:gd name="T18" fmla="+- 0 3353 3309"/>
                    <a:gd name="T19" fmla="*/ 3353 h 44"/>
                    <a:gd name="T20" fmla="+- 0 1729 1695"/>
                    <a:gd name="T21" fmla="*/ T20 w 44"/>
                    <a:gd name="T22" fmla="+- 0 3353 3309"/>
                    <a:gd name="T23" fmla="*/ 3353 h 44"/>
                    <a:gd name="T24" fmla="+- 0 1739 1695"/>
                    <a:gd name="T25" fmla="*/ T24 w 44"/>
                    <a:gd name="T26" fmla="+- 0 3343 3309"/>
                    <a:gd name="T27" fmla="*/ 3343 h 44"/>
                    <a:gd name="T28" fmla="+- 0 1739 1695"/>
                    <a:gd name="T29" fmla="*/ T28 w 44"/>
                    <a:gd name="T30" fmla="+- 0 3319 3309"/>
                    <a:gd name="T31" fmla="*/ 3319 h 44"/>
                    <a:gd name="T32" fmla="+- 0 1729 1695"/>
                    <a:gd name="T33" fmla="*/ T32 w 44"/>
                    <a:gd name="T34" fmla="+- 0 3309 3309"/>
                    <a:gd name="T35" fmla="*/ 3309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38" name="Group 28"/>
              <p:cNvGrpSpPr>
                <a:grpSpLocks/>
              </p:cNvGrpSpPr>
              <p:nvPr/>
            </p:nvGrpSpPr>
            <p:grpSpPr bwMode="auto">
              <a:xfrm>
                <a:off x="2439993" y="1016635"/>
                <a:ext cx="27892" cy="27940"/>
                <a:chOff x="1695" y="3564"/>
                <a:chExt cx="44" cy="44"/>
              </a:xfrm>
            </p:grpSpPr>
            <p:sp>
              <p:nvSpPr>
                <p:cNvPr id="54" name="Freeform 29"/>
                <p:cNvSpPr>
                  <a:spLocks/>
                </p:cNvSpPr>
                <p:nvPr/>
              </p:nvSpPr>
              <p:spPr bwMode="auto">
                <a:xfrm>
                  <a:off x="1695" y="3564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3564 3564"/>
                    <a:gd name="T3" fmla="*/ 3564 h 44"/>
                    <a:gd name="T4" fmla="+- 0 1704 1695"/>
                    <a:gd name="T5" fmla="*/ T4 w 44"/>
                    <a:gd name="T6" fmla="+- 0 3564 3564"/>
                    <a:gd name="T7" fmla="*/ 3564 h 44"/>
                    <a:gd name="T8" fmla="+- 0 1695 1695"/>
                    <a:gd name="T9" fmla="*/ T8 w 44"/>
                    <a:gd name="T10" fmla="+- 0 3573 3564"/>
                    <a:gd name="T11" fmla="*/ 3573 h 44"/>
                    <a:gd name="T12" fmla="+- 0 1695 1695"/>
                    <a:gd name="T13" fmla="*/ T12 w 44"/>
                    <a:gd name="T14" fmla="+- 0 3598 3564"/>
                    <a:gd name="T15" fmla="*/ 3598 h 44"/>
                    <a:gd name="T16" fmla="+- 0 1704 1695"/>
                    <a:gd name="T17" fmla="*/ T16 w 44"/>
                    <a:gd name="T18" fmla="+- 0 3608 3564"/>
                    <a:gd name="T19" fmla="*/ 3608 h 44"/>
                    <a:gd name="T20" fmla="+- 0 1729 1695"/>
                    <a:gd name="T21" fmla="*/ T20 w 44"/>
                    <a:gd name="T22" fmla="+- 0 3608 3564"/>
                    <a:gd name="T23" fmla="*/ 3608 h 44"/>
                    <a:gd name="T24" fmla="+- 0 1739 1695"/>
                    <a:gd name="T25" fmla="*/ T24 w 44"/>
                    <a:gd name="T26" fmla="+- 0 3598 3564"/>
                    <a:gd name="T27" fmla="*/ 3598 h 44"/>
                    <a:gd name="T28" fmla="+- 0 1739 1695"/>
                    <a:gd name="T29" fmla="*/ T28 w 44"/>
                    <a:gd name="T30" fmla="+- 0 3573 3564"/>
                    <a:gd name="T31" fmla="*/ 3573 h 44"/>
                    <a:gd name="T32" fmla="+- 0 1729 1695"/>
                    <a:gd name="T33" fmla="*/ T32 w 44"/>
                    <a:gd name="T34" fmla="+- 0 3564 3564"/>
                    <a:gd name="T35" fmla="*/ 3564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9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39" name="Group 30"/>
              <p:cNvGrpSpPr>
                <a:grpSpLocks/>
              </p:cNvGrpSpPr>
              <p:nvPr/>
            </p:nvGrpSpPr>
            <p:grpSpPr bwMode="auto">
              <a:xfrm>
                <a:off x="2439993" y="1177925"/>
                <a:ext cx="27892" cy="27940"/>
                <a:chOff x="1695" y="3818"/>
                <a:chExt cx="44" cy="44"/>
              </a:xfrm>
            </p:grpSpPr>
            <p:sp>
              <p:nvSpPr>
                <p:cNvPr id="53" name="Freeform 31"/>
                <p:cNvSpPr>
                  <a:spLocks/>
                </p:cNvSpPr>
                <p:nvPr/>
              </p:nvSpPr>
              <p:spPr bwMode="auto">
                <a:xfrm>
                  <a:off x="1695" y="3818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3818 3818"/>
                    <a:gd name="T3" fmla="*/ 3818 h 44"/>
                    <a:gd name="T4" fmla="+- 0 1704 1695"/>
                    <a:gd name="T5" fmla="*/ T4 w 44"/>
                    <a:gd name="T6" fmla="+- 0 3818 3818"/>
                    <a:gd name="T7" fmla="*/ 3818 h 44"/>
                    <a:gd name="T8" fmla="+- 0 1695 1695"/>
                    <a:gd name="T9" fmla="*/ T8 w 44"/>
                    <a:gd name="T10" fmla="+- 0 3828 3818"/>
                    <a:gd name="T11" fmla="*/ 3828 h 44"/>
                    <a:gd name="T12" fmla="+- 0 1695 1695"/>
                    <a:gd name="T13" fmla="*/ T12 w 44"/>
                    <a:gd name="T14" fmla="+- 0 3852 3818"/>
                    <a:gd name="T15" fmla="*/ 3852 h 44"/>
                    <a:gd name="T16" fmla="+- 0 1704 1695"/>
                    <a:gd name="T17" fmla="*/ T16 w 44"/>
                    <a:gd name="T18" fmla="+- 0 3862 3818"/>
                    <a:gd name="T19" fmla="*/ 3862 h 44"/>
                    <a:gd name="T20" fmla="+- 0 1729 1695"/>
                    <a:gd name="T21" fmla="*/ T20 w 44"/>
                    <a:gd name="T22" fmla="+- 0 3862 3818"/>
                    <a:gd name="T23" fmla="*/ 3862 h 44"/>
                    <a:gd name="T24" fmla="+- 0 1739 1695"/>
                    <a:gd name="T25" fmla="*/ T24 w 44"/>
                    <a:gd name="T26" fmla="+- 0 3852 3818"/>
                    <a:gd name="T27" fmla="*/ 3852 h 44"/>
                    <a:gd name="T28" fmla="+- 0 1739 1695"/>
                    <a:gd name="T29" fmla="*/ T28 w 44"/>
                    <a:gd name="T30" fmla="+- 0 3828 3818"/>
                    <a:gd name="T31" fmla="*/ 3828 h 44"/>
                    <a:gd name="T32" fmla="+- 0 1729 1695"/>
                    <a:gd name="T33" fmla="*/ T32 w 44"/>
                    <a:gd name="T34" fmla="+- 0 3818 3818"/>
                    <a:gd name="T35" fmla="*/ 3818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40" name="Group 32"/>
              <p:cNvGrpSpPr>
                <a:grpSpLocks/>
              </p:cNvGrpSpPr>
              <p:nvPr/>
            </p:nvGrpSpPr>
            <p:grpSpPr bwMode="auto">
              <a:xfrm>
                <a:off x="2439993" y="1339215"/>
                <a:ext cx="27892" cy="27940"/>
                <a:chOff x="1695" y="4072"/>
                <a:chExt cx="44" cy="44"/>
              </a:xfrm>
            </p:grpSpPr>
            <p:sp>
              <p:nvSpPr>
                <p:cNvPr id="52" name="Freeform 33"/>
                <p:cNvSpPr>
                  <a:spLocks/>
                </p:cNvSpPr>
                <p:nvPr/>
              </p:nvSpPr>
              <p:spPr bwMode="auto">
                <a:xfrm>
                  <a:off x="1695" y="4072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4072 4072"/>
                    <a:gd name="T3" fmla="*/ 4072 h 44"/>
                    <a:gd name="T4" fmla="+- 0 1704 1695"/>
                    <a:gd name="T5" fmla="*/ T4 w 44"/>
                    <a:gd name="T6" fmla="+- 0 4072 4072"/>
                    <a:gd name="T7" fmla="*/ 4072 h 44"/>
                    <a:gd name="T8" fmla="+- 0 1695 1695"/>
                    <a:gd name="T9" fmla="*/ T8 w 44"/>
                    <a:gd name="T10" fmla="+- 0 4082 4072"/>
                    <a:gd name="T11" fmla="*/ 4082 h 44"/>
                    <a:gd name="T12" fmla="+- 0 1695 1695"/>
                    <a:gd name="T13" fmla="*/ T12 w 44"/>
                    <a:gd name="T14" fmla="+- 0 4106 4072"/>
                    <a:gd name="T15" fmla="*/ 4106 h 44"/>
                    <a:gd name="T16" fmla="+- 0 1704 1695"/>
                    <a:gd name="T17" fmla="*/ T16 w 44"/>
                    <a:gd name="T18" fmla="+- 0 4116 4072"/>
                    <a:gd name="T19" fmla="*/ 4116 h 44"/>
                    <a:gd name="T20" fmla="+- 0 1729 1695"/>
                    <a:gd name="T21" fmla="*/ T20 w 44"/>
                    <a:gd name="T22" fmla="+- 0 4116 4072"/>
                    <a:gd name="T23" fmla="*/ 4116 h 44"/>
                    <a:gd name="T24" fmla="+- 0 1739 1695"/>
                    <a:gd name="T25" fmla="*/ T24 w 44"/>
                    <a:gd name="T26" fmla="+- 0 4106 4072"/>
                    <a:gd name="T27" fmla="*/ 4106 h 44"/>
                    <a:gd name="T28" fmla="+- 0 1739 1695"/>
                    <a:gd name="T29" fmla="*/ T28 w 44"/>
                    <a:gd name="T30" fmla="+- 0 4082 4072"/>
                    <a:gd name="T31" fmla="*/ 4082 h 44"/>
                    <a:gd name="T32" fmla="+- 0 1729 1695"/>
                    <a:gd name="T33" fmla="*/ T32 w 44"/>
                    <a:gd name="T34" fmla="+- 0 4072 4072"/>
                    <a:gd name="T35" fmla="*/ 4072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41" name="Group 34"/>
              <p:cNvGrpSpPr>
                <a:grpSpLocks/>
              </p:cNvGrpSpPr>
              <p:nvPr/>
            </p:nvGrpSpPr>
            <p:grpSpPr bwMode="auto">
              <a:xfrm>
                <a:off x="2439993" y="1501140"/>
                <a:ext cx="27892" cy="27940"/>
                <a:chOff x="1695" y="4327"/>
                <a:chExt cx="44" cy="44"/>
              </a:xfrm>
            </p:grpSpPr>
            <p:sp>
              <p:nvSpPr>
                <p:cNvPr id="51" name="Freeform 35"/>
                <p:cNvSpPr>
                  <a:spLocks/>
                </p:cNvSpPr>
                <p:nvPr/>
              </p:nvSpPr>
              <p:spPr bwMode="auto">
                <a:xfrm>
                  <a:off x="1695" y="4327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4327 4327"/>
                    <a:gd name="T3" fmla="*/ 4327 h 44"/>
                    <a:gd name="T4" fmla="+- 0 1704 1695"/>
                    <a:gd name="T5" fmla="*/ T4 w 44"/>
                    <a:gd name="T6" fmla="+- 0 4327 4327"/>
                    <a:gd name="T7" fmla="*/ 4327 h 44"/>
                    <a:gd name="T8" fmla="+- 0 1695 1695"/>
                    <a:gd name="T9" fmla="*/ T8 w 44"/>
                    <a:gd name="T10" fmla="+- 0 4337 4327"/>
                    <a:gd name="T11" fmla="*/ 4337 h 44"/>
                    <a:gd name="T12" fmla="+- 0 1695 1695"/>
                    <a:gd name="T13" fmla="*/ T12 w 44"/>
                    <a:gd name="T14" fmla="+- 0 4361 4327"/>
                    <a:gd name="T15" fmla="*/ 4361 h 44"/>
                    <a:gd name="T16" fmla="+- 0 1704 1695"/>
                    <a:gd name="T17" fmla="*/ T16 w 44"/>
                    <a:gd name="T18" fmla="+- 0 4371 4327"/>
                    <a:gd name="T19" fmla="*/ 4371 h 44"/>
                    <a:gd name="T20" fmla="+- 0 1729 1695"/>
                    <a:gd name="T21" fmla="*/ T20 w 44"/>
                    <a:gd name="T22" fmla="+- 0 4371 4327"/>
                    <a:gd name="T23" fmla="*/ 4371 h 44"/>
                    <a:gd name="T24" fmla="+- 0 1739 1695"/>
                    <a:gd name="T25" fmla="*/ T24 w 44"/>
                    <a:gd name="T26" fmla="+- 0 4361 4327"/>
                    <a:gd name="T27" fmla="*/ 4361 h 44"/>
                    <a:gd name="T28" fmla="+- 0 1739 1695"/>
                    <a:gd name="T29" fmla="*/ T28 w 44"/>
                    <a:gd name="T30" fmla="+- 0 4337 4327"/>
                    <a:gd name="T31" fmla="*/ 4337 h 44"/>
                    <a:gd name="T32" fmla="+- 0 1729 1695"/>
                    <a:gd name="T33" fmla="*/ T32 w 44"/>
                    <a:gd name="T34" fmla="+- 0 4327 4327"/>
                    <a:gd name="T35" fmla="*/ 4327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42" name="Group 36"/>
              <p:cNvGrpSpPr>
                <a:grpSpLocks/>
              </p:cNvGrpSpPr>
              <p:nvPr/>
            </p:nvGrpSpPr>
            <p:grpSpPr bwMode="auto">
              <a:xfrm>
                <a:off x="2439993" y="1662430"/>
                <a:ext cx="27892" cy="27940"/>
                <a:chOff x="1695" y="4581"/>
                <a:chExt cx="44" cy="44"/>
              </a:xfrm>
            </p:grpSpPr>
            <p:sp>
              <p:nvSpPr>
                <p:cNvPr id="50" name="Freeform 37"/>
                <p:cNvSpPr>
                  <a:spLocks/>
                </p:cNvSpPr>
                <p:nvPr/>
              </p:nvSpPr>
              <p:spPr bwMode="auto">
                <a:xfrm>
                  <a:off x="1695" y="4581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4581 4581"/>
                    <a:gd name="T3" fmla="*/ 4581 h 44"/>
                    <a:gd name="T4" fmla="+- 0 1704 1695"/>
                    <a:gd name="T5" fmla="*/ T4 w 44"/>
                    <a:gd name="T6" fmla="+- 0 4581 4581"/>
                    <a:gd name="T7" fmla="*/ 4581 h 44"/>
                    <a:gd name="T8" fmla="+- 0 1695 1695"/>
                    <a:gd name="T9" fmla="*/ T8 w 44"/>
                    <a:gd name="T10" fmla="+- 0 4591 4581"/>
                    <a:gd name="T11" fmla="*/ 4591 h 44"/>
                    <a:gd name="T12" fmla="+- 0 1695 1695"/>
                    <a:gd name="T13" fmla="*/ T12 w 44"/>
                    <a:gd name="T14" fmla="+- 0 4615 4581"/>
                    <a:gd name="T15" fmla="*/ 4615 h 44"/>
                    <a:gd name="T16" fmla="+- 0 1704 1695"/>
                    <a:gd name="T17" fmla="*/ T16 w 44"/>
                    <a:gd name="T18" fmla="+- 0 4625 4581"/>
                    <a:gd name="T19" fmla="*/ 4625 h 44"/>
                    <a:gd name="T20" fmla="+- 0 1729 1695"/>
                    <a:gd name="T21" fmla="*/ T20 w 44"/>
                    <a:gd name="T22" fmla="+- 0 4625 4581"/>
                    <a:gd name="T23" fmla="*/ 4625 h 44"/>
                    <a:gd name="T24" fmla="+- 0 1739 1695"/>
                    <a:gd name="T25" fmla="*/ T24 w 44"/>
                    <a:gd name="T26" fmla="+- 0 4615 4581"/>
                    <a:gd name="T27" fmla="*/ 4615 h 44"/>
                    <a:gd name="T28" fmla="+- 0 1739 1695"/>
                    <a:gd name="T29" fmla="*/ T28 w 44"/>
                    <a:gd name="T30" fmla="+- 0 4591 4581"/>
                    <a:gd name="T31" fmla="*/ 4591 h 44"/>
                    <a:gd name="T32" fmla="+- 0 1729 1695"/>
                    <a:gd name="T33" fmla="*/ T32 w 44"/>
                    <a:gd name="T34" fmla="+- 0 4581 4581"/>
                    <a:gd name="T35" fmla="*/ 4581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43" name="Group 38"/>
              <p:cNvGrpSpPr>
                <a:grpSpLocks/>
              </p:cNvGrpSpPr>
              <p:nvPr/>
            </p:nvGrpSpPr>
            <p:grpSpPr bwMode="auto">
              <a:xfrm>
                <a:off x="2439993" y="1824355"/>
                <a:ext cx="27892" cy="27940"/>
                <a:chOff x="1695" y="4836"/>
                <a:chExt cx="44" cy="44"/>
              </a:xfrm>
            </p:grpSpPr>
            <p:sp>
              <p:nvSpPr>
                <p:cNvPr id="49" name="Freeform 39"/>
                <p:cNvSpPr>
                  <a:spLocks/>
                </p:cNvSpPr>
                <p:nvPr/>
              </p:nvSpPr>
              <p:spPr bwMode="auto">
                <a:xfrm>
                  <a:off x="1695" y="4836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4836 4836"/>
                    <a:gd name="T3" fmla="*/ 4836 h 44"/>
                    <a:gd name="T4" fmla="+- 0 1704 1695"/>
                    <a:gd name="T5" fmla="*/ T4 w 44"/>
                    <a:gd name="T6" fmla="+- 0 4836 4836"/>
                    <a:gd name="T7" fmla="*/ 4836 h 44"/>
                    <a:gd name="T8" fmla="+- 0 1695 1695"/>
                    <a:gd name="T9" fmla="*/ T8 w 44"/>
                    <a:gd name="T10" fmla="+- 0 4846 4836"/>
                    <a:gd name="T11" fmla="*/ 4846 h 44"/>
                    <a:gd name="T12" fmla="+- 0 1695 1695"/>
                    <a:gd name="T13" fmla="*/ T12 w 44"/>
                    <a:gd name="T14" fmla="+- 0 4870 4836"/>
                    <a:gd name="T15" fmla="*/ 4870 h 44"/>
                    <a:gd name="T16" fmla="+- 0 1704 1695"/>
                    <a:gd name="T17" fmla="*/ T16 w 44"/>
                    <a:gd name="T18" fmla="+- 0 4880 4836"/>
                    <a:gd name="T19" fmla="*/ 4880 h 44"/>
                    <a:gd name="T20" fmla="+- 0 1729 1695"/>
                    <a:gd name="T21" fmla="*/ T20 w 44"/>
                    <a:gd name="T22" fmla="+- 0 4880 4836"/>
                    <a:gd name="T23" fmla="*/ 4880 h 44"/>
                    <a:gd name="T24" fmla="+- 0 1739 1695"/>
                    <a:gd name="T25" fmla="*/ T24 w 44"/>
                    <a:gd name="T26" fmla="+- 0 4870 4836"/>
                    <a:gd name="T27" fmla="*/ 4870 h 44"/>
                    <a:gd name="T28" fmla="+- 0 1739 1695"/>
                    <a:gd name="T29" fmla="*/ T28 w 44"/>
                    <a:gd name="T30" fmla="+- 0 4846 4836"/>
                    <a:gd name="T31" fmla="*/ 4846 h 44"/>
                    <a:gd name="T32" fmla="+- 0 1729 1695"/>
                    <a:gd name="T33" fmla="*/ T32 w 44"/>
                    <a:gd name="T34" fmla="+- 0 4836 4836"/>
                    <a:gd name="T35" fmla="*/ 4836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44" name="Group 40"/>
              <p:cNvGrpSpPr>
                <a:grpSpLocks/>
              </p:cNvGrpSpPr>
              <p:nvPr/>
            </p:nvGrpSpPr>
            <p:grpSpPr bwMode="auto">
              <a:xfrm>
                <a:off x="2439993" y="1985645"/>
                <a:ext cx="27892" cy="27940"/>
                <a:chOff x="1695" y="5090"/>
                <a:chExt cx="44" cy="44"/>
              </a:xfrm>
            </p:grpSpPr>
            <p:sp>
              <p:nvSpPr>
                <p:cNvPr id="48" name="Freeform 41"/>
                <p:cNvSpPr>
                  <a:spLocks/>
                </p:cNvSpPr>
                <p:nvPr/>
              </p:nvSpPr>
              <p:spPr bwMode="auto">
                <a:xfrm>
                  <a:off x="1695" y="5090"/>
                  <a:ext cx="44" cy="44"/>
                </a:xfrm>
                <a:custGeom>
                  <a:avLst/>
                  <a:gdLst>
                    <a:gd name="T0" fmla="+- 0 1729 1695"/>
                    <a:gd name="T1" fmla="*/ T0 w 44"/>
                    <a:gd name="T2" fmla="+- 0 5090 5090"/>
                    <a:gd name="T3" fmla="*/ 5090 h 44"/>
                    <a:gd name="T4" fmla="+- 0 1704 1695"/>
                    <a:gd name="T5" fmla="*/ T4 w 44"/>
                    <a:gd name="T6" fmla="+- 0 5090 5090"/>
                    <a:gd name="T7" fmla="*/ 5090 h 44"/>
                    <a:gd name="T8" fmla="+- 0 1695 1695"/>
                    <a:gd name="T9" fmla="*/ T8 w 44"/>
                    <a:gd name="T10" fmla="+- 0 5100 5090"/>
                    <a:gd name="T11" fmla="*/ 5100 h 44"/>
                    <a:gd name="T12" fmla="+- 0 1695 1695"/>
                    <a:gd name="T13" fmla="*/ T12 w 44"/>
                    <a:gd name="T14" fmla="+- 0 5124 5090"/>
                    <a:gd name="T15" fmla="*/ 5124 h 44"/>
                    <a:gd name="T16" fmla="+- 0 1704 1695"/>
                    <a:gd name="T17" fmla="*/ T16 w 44"/>
                    <a:gd name="T18" fmla="+- 0 5134 5090"/>
                    <a:gd name="T19" fmla="*/ 5134 h 44"/>
                    <a:gd name="T20" fmla="+- 0 1729 1695"/>
                    <a:gd name="T21" fmla="*/ T20 w 44"/>
                    <a:gd name="T22" fmla="+- 0 5134 5090"/>
                    <a:gd name="T23" fmla="*/ 5134 h 44"/>
                    <a:gd name="T24" fmla="+- 0 1739 1695"/>
                    <a:gd name="T25" fmla="*/ T24 w 44"/>
                    <a:gd name="T26" fmla="+- 0 5124 5090"/>
                    <a:gd name="T27" fmla="*/ 5124 h 44"/>
                    <a:gd name="T28" fmla="+- 0 1739 1695"/>
                    <a:gd name="T29" fmla="*/ T28 w 44"/>
                    <a:gd name="T30" fmla="+- 0 5100 5090"/>
                    <a:gd name="T31" fmla="*/ 5100 h 44"/>
                    <a:gd name="T32" fmla="+- 0 1729 1695"/>
                    <a:gd name="T33" fmla="*/ T32 w 44"/>
                    <a:gd name="T34" fmla="+- 0 5090 5090"/>
                    <a:gd name="T35" fmla="*/ 5090 h 44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</a:cxnLst>
                  <a:rect l="0" t="0" r="r" b="b"/>
                  <a:pathLst>
                    <a:path w="44" h="44">
                      <a:moveTo>
                        <a:pt x="34" y="0"/>
                      </a:moveTo>
                      <a:lnTo>
                        <a:pt x="9" y="0"/>
                      </a:lnTo>
                      <a:lnTo>
                        <a:pt x="0" y="10"/>
                      </a:lnTo>
                      <a:lnTo>
                        <a:pt x="0" y="34"/>
                      </a:lnTo>
                      <a:lnTo>
                        <a:pt x="9" y="44"/>
                      </a:lnTo>
                      <a:lnTo>
                        <a:pt x="34" y="44"/>
                      </a:lnTo>
                      <a:lnTo>
                        <a:pt x="44" y="34"/>
                      </a:lnTo>
                      <a:lnTo>
                        <a:pt x="44" y="1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221F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grpSp>
            <p:nvGrpSpPr>
              <p:cNvPr id="45" name="Group 42"/>
              <p:cNvGrpSpPr>
                <a:grpSpLocks/>
              </p:cNvGrpSpPr>
              <p:nvPr/>
            </p:nvGrpSpPr>
            <p:grpSpPr bwMode="auto">
              <a:xfrm>
                <a:off x="2337933" y="1308470"/>
                <a:ext cx="48811" cy="87789"/>
                <a:chOff x="1567" y="4060"/>
                <a:chExt cx="44" cy="79"/>
              </a:xfrm>
            </p:grpSpPr>
            <p:sp>
              <p:nvSpPr>
                <p:cNvPr id="46" name="Freeform 43"/>
                <p:cNvSpPr>
                  <a:spLocks/>
                </p:cNvSpPr>
                <p:nvPr/>
              </p:nvSpPr>
              <p:spPr bwMode="auto">
                <a:xfrm>
                  <a:off x="1567" y="4060"/>
                  <a:ext cx="44" cy="79"/>
                </a:xfrm>
                <a:custGeom>
                  <a:avLst/>
                  <a:gdLst>
                    <a:gd name="T0" fmla="+- 0 1580 1567"/>
                    <a:gd name="T1" fmla="*/ T0 w 44"/>
                    <a:gd name="T2" fmla="+- 0 4113 4060"/>
                    <a:gd name="T3" fmla="*/ 4113 h 79"/>
                    <a:gd name="T4" fmla="+- 0 1575 1567"/>
                    <a:gd name="T5" fmla="*/ T4 w 44"/>
                    <a:gd name="T6" fmla="+- 0 4118 4060"/>
                    <a:gd name="T7" fmla="*/ 4118 h 79"/>
                    <a:gd name="T8" fmla="+- 0 1567 1567"/>
                    <a:gd name="T9" fmla="*/ T8 w 44"/>
                    <a:gd name="T10" fmla="+- 0 4127 4060"/>
                    <a:gd name="T11" fmla="*/ 4127 h 79"/>
                    <a:gd name="T12" fmla="+- 0 1572 1567"/>
                    <a:gd name="T13" fmla="*/ T12 w 44"/>
                    <a:gd name="T14" fmla="+- 0 4133 4060"/>
                    <a:gd name="T15" fmla="*/ 4133 h 79"/>
                    <a:gd name="T16" fmla="+- 0 1577 1567"/>
                    <a:gd name="T17" fmla="*/ T16 w 44"/>
                    <a:gd name="T18" fmla="+- 0 4139 4060"/>
                    <a:gd name="T19" fmla="*/ 4139 h 79"/>
                    <a:gd name="T20" fmla="+- 0 1588 1567"/>
                    <a:gd name="T21" fmla="*/ T20 w 44"/>
                    <a:gd name="T22" fmla="+- 0 4136 4060"/>
                    <a:gd name="T23" fmla="*/ 4136 h 79"/>
                    <a:gd name="T24" fmla="+- 0 1592 1567"/>
                    <a:gd name="T25" fmla="*/ T24 w 44"/>
                    <a:gd name="T26" fmla="+- 0 4130 4060"/>
                    <a:gd name="T27" fmla="*/ 4130 h 79"/>
                    <a:gd name="T28" fmla="+- 0 1601 1567"/>
                    <a:gd name="T29" fmla="*/ T28 w 44"/>
                    <a:gd name="T30" fmla="+- 0 4116 4060"/>
                    <a:gd name="T31" fmla="*/ 4116 h 79"/>
                    <a:gd name="T32" fmla="+- 0 1589 1567"/>
                    <a:gd name="T33" fmla="*/ T32 w 44"/>
                    <a:gd name="T34" fmla="+- 0 4116 4060"/>
                    <a:gd name="T35" fmla="*/ 4116 h 79"/>
                    <a:gd name="T36" fmla="+- 0 1580 1567"/>
                    <a:gd name="T37" fmla="*/ T36 w 44"/>
                    <a:gd name="T38" fmla="+- 0 4113 4060"/>
                    <a:gd name="T39" fmla="*/ 4113 h 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</a:cxnLst>
                  <a:rect l="0" t="0" r="r" b="b"/>
                  <a:pathLst>
                    <a:path w="44" h="79">
                      <a:moveTo>
                        <a:pt x="13" y="53"/>
                      </a:moveTo>
                      <a:lnTo>
                        <a:pt x="8" y="58"/>
                      </a:lnTo>
                      <a:lnTo>
                        <a:pt x="0" y="67"/>
                      </a:lnTo>
                      <a:lnTo>
                        <a:pt x="5" y="73"/>
                      </a:lnTo>
                      <a:lnTo>
                        <a:pt x="10" y="79"/>
                      </a:lnTo>
                      <a:lnTo>
                        <a:pt x="21" y="76"/>
                      </a:lnTo>
                      <a:lnTo>
                        <a:pt x="25" y="70"/>
                      </a:lnTo>
                      <a:lnTo>
                        <a:pt x="34" y="56"/>
                      </a:lnTo>
                      <a:lnTo>
                        <a:pt x="22" y="56"/>
                      </a:lnTo>
                      <a:lnTo>
                        <a:pt x="13" y="53"/>
                      </a:lnTo>
                      <a:close/>
                    </a:path>
                  </a:pathLst>
                </a:custGeom>
                <a:solidFill>
                  <a:srgbClr val="1D1D1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  <p:sp>
              <p:nvSpPr>
                <p:cNvPr id="47" name="Freeform 44"/>
                <p:cNvSpPr>
                  <a:spLocks/>
                </p:cNvSpPr>
                <p:nvPr/>
              </p:nvSpPr>
              <p:spPr bwMode="auto">
                <a:xfrm>
                  <a:off x="1567" y="4063"/>
                  <a:ext cx="42" cy="76"/>
                </a:xfrm>
                <a:custGeom>
                  <a:avLst/>
                  <a:gdLst>
                    <a:gd name="T0" fmla="+- 0 1599 1567"/>
                    <a:gd name="T1" fmla="*/ T0 w 44"/>
                    <a:gd name="T2" fmla="+- 0 4060 4060"/>
                    <a:gd name="T3" fmla="*/ 4060 h 79"/>
                    <a:gd name="T4" fmla="+- 0 1591 1567"/>
                    <a:gd name="T5" fmla="*/ T4 w 44"/>
                    <a:gd name="T6" fmla="+- 0 4063 4060"/>
                    <a:gd name="T7" fmla="*/ 4063 h 79"/>
                    <a:gd name="T8" fmla="+- 0 1589 1567"/>
                    <a:gd name="T9" fmla="*/ T8 w 44"/>
                    <a:gd name="T10" fmla="+- 0 4076 4060"/>
                    <a:gd name="T11" fmla="*/ 4076 h 79"/>
                    <a:gd name="T12" fmla="+- 0 1590 1567"/>
                    <a:gd name="T13" fmla="*/ T12 w 44"/>
                    <a:gd name="T14" fmla="+- 0 4081 4060"/>
                    <a:gd name="T15" fmla="*/ 4081 h 79"/>
                    <a:gd name="T16" fmla="+- 0 1600 1567"/>
                    <a:gd name="T17" fmla="*/ T16 w 44"/>
                    <a:gd name="T18" fmla="+- 0 4084 4060"/>
                    <a:gd name="T19" fmla="*/ 4084 h 79"/>
                    <a:gd name="T20" fmla="+- 0 1601 1567"/>
                    <a:gd name="T21" fmla="*/ T20 w 44"/>
                    <a:gd name="T22" fmla="+- 0 4088 4060"/>
                    <a:gd name="T23" fmla="*/ 4088 h 79"/>
                    <a:gd name="T24" fmla="+- 0 1593 1567"/>
                    <a:gd name="T25" fmla="*/ T24 w 44"/>
                    <a:gd name="T26" fmla="+- 0 4114 4060"/>
                    <a:gd name="T27" fmla="*/ 4114 h 79"/>
                    <a:gd name="T28" fmla="+- 0 1589 1567"/>
                    <a:gd name="T29" fmla="*/ T28 w 44"/>
                    <a:gd name="T30" fmla="+- 0 4116 4060"/>
                    <a:gd name="T31" fmla="*/ 4116 h 79"/>
                    <a:gd name="T32" fmla="+- 0 1601 1567"/>
                    <a:gd name="T33" fmla="*/ T32 w 44"/>
                    <a:gd name="T34" fmla="+- 0 4116 4060"/>
                    <a:gd name="T35" fmla="*/ 4116 h 79"/>
                    <a:gd name="T36" fmla="+- 0 1607 1567"/>
                    <a:gd name="T37" fmla="*/ T36 w 44"/>
                    <a:gd name="T38" fmla="+- 0 4106 4060"/>
                    <a:gd name="T39" fmla="*/ 4106 h 79"/>
                    <a:gd name="T40" fmla="+- 0 1611 1567"/>
                    <a:gd name="T41" fmla="*/ T40 w 44"/>
                    <a:gd name="T42" fmla="+- 0 4086 4060"/>
                    <a:gd name="T43" fmla="*/ 4086 h 79"/>
                    <a:gd name="T44" fmla="+- 0 1610 1567"/>
                    <a:gd name="T45" fmla="*/ T44 w 44"/>
                    <a:gd name="T46" fmla="+- 0 4073 4060"/>
                    <a:gd name="T47" fmla="*/ 4073 h 79"/>
                    <a:gd name="T48" fmla="+- 0 1607 1567"/>
                    <a:gd name="T49" fmla="*/ T48 w 44"/>
                    <a:gd name="T50" fmla="+- 0 4062 4060"/>
                    <a:gd name="T51" fmla="*/ 4062 h 79"/>
                    <a:gd name="T52" fmla="+- 0 1599 1567"/>
                    <a:gd name="T53" fmla="*/ T52 w 44"/>
                    <a:gd name="T54" fmla="+- 0 4060 4060"/>
                    <a:gd name="T55" fmla="*/ 4060 h 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  <a:cxn ang="0">
                      <a:pos x="T17" y="T19"/>
                    </a:cxn>
                    <a:cxn ang="0">
                      <a:pos x="T21" y="T23"/>
                    </a:cxn>
                    <a:cxn ang="0">
                      <a:pos x="T25" y="T27"/>
                    </a:cxn>
                    <a:cxn ang="0">
                      <a:pos x="T29" y="T31"/>
                    </a:cxn>
                    <a:cxn ang="0">
                      <a:pos x="T33" y="T35"/>
                    </a:cxn>
                    <a:cxn ang="0">
                      <a:pos x="T37" y="T39"/>
                    </a:cxn>
                    <a:cxn ang="0">
                      <a:pos x="T41" y="T43"/>
                    </a:cxn>
                    <a:cxn ang="0">
                      <a:pos x="T45" y="T47"/>
                    </a:cxn>
                    <a:cxn ang="0">
                      <a:pos x="T49" y="T51"/>
                    </a:cxn>
                    <a:cxn ang="0">
                      <a:pos x="T53" y="T55"/>
                    </a:cxn>
                  </a:cxnLst>
                  <a:rect l="0" t="0" r="r" b="b"/>
                  <a:pathLst>
                    <a:path w="44" h="79">
                      <a:moveTo>
                        <a:pt x="32" y="0"/>
                      </a:moveTo>
                      <a:lnTo>
                        <a:pt x="24" y="3"/>
                      </a:lnTo>
                      <a:lnTo>
                        <a:pt x="22" y="16"/>
                      </a:lnTo>
                      <a:lnTo>
                        <a:pt x="23" y="21"/>
                      </a:lnTo>
                      <a:lnTo>
                        <a:pt x="33" y="24"/>
                      </a:lnTo>
                      <a:lnTo>
                        <a:pt x="34" y="28"/>
                      </a:lnTo>
                      <a:lnTo>
                        <a:pt x="26" y="54"/>
                      </a:lnTo>
                      <a:lnTo>
                        <a:pt x="22" y="56"/>
                      </a:lnTo>
                      <a:lnTo>
                        <a:pt x="34" y="56"/>
                      </a:lnTo>
                      <a:lnTo>
                        <a:pt x="40" y="46"/>
                      </a:lnTo>
                      <a:lnTo>
                        <a:pt x="44" y="26"/>
                      </a:lnTo>
                      <a:lnTo>
                        <a:pt x="43" y="13"/>
                      </a:lnTo>
                      <a:lnTo>
                        <a:pt x="40" y="2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solidFill>
                  <a:srgbClr val="1D1D1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b-NO"/>
                </a:p>
              </p:txBody>
            </p:sp>
          </p:grpSp>
          <p:sp>
            <p:nvSpPr>
              <p:cNvPr id="545793" name="Rectangle 545792"/>
              <p:cNvSpPr/>
              <p:nvPr/>
            </p:nvSpPr>
            <p:spPr>
              <a:xfrm>
                <a:off x="2222767" y="1420328"/>
                <a:ext cx="270267" cy="1846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6985" algn="ctr">
                  <a:spcAft>
                    <a:spcPts val="0"/>
                  </a:spcAft>
                </a:pPr>
                <a:r>
                  <a:rPr lang="en-US" sz="600" dirty="0">
                    <a:solidFill>
                      <a:srgbClr val="020203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Times New Roman" panose="02020603050405020304" pitchFamily="18" charset="0"/>
                  </a:rPr>
                  <a:t>@</a:t>
                </a:r>
                <a:endParaRPr lang="nb-NO" sz="2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204332" y="634109"/>
                <a:ext cx="307135" cy="1538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6985" algn="ctr">
                  <a:spcAft>
                    <a:spcPts val="0"/>
                  </a:spcAft>
                </a:pPr>
                <a:r>
                  <a:rPr lang="en-US" sz="400" dirty="0">
                    <a:solidFill>
                      <a:srgbClr val="020203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WPS</a:t>
                </a:r>
                <a:endParaRPr lang="nb-NO" sz="2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2207538" y="788536"/>
                <a:ext cx="300723" cy="1538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6985" algn="ctr">
                  <a:spcAft>
                    <a:spcPts val="0"/>
                  </a:spcAft>
                </a:pPr>
                <a:r>
                  <a:rPr lang="en-US" sz="400" dirty="0">
                    <a:solidFill>
                      <a:srgbClr val="020203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WIFI</a:t>
                </a:r>
                <a:endParaRPr lang="nb-NO" sz="2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45896" name="Group 545895"/>
            <p:cNvGrpSpPr/>
            <p:nvPr/>
          </p:nvGrpSpPr>
          <p:grpSpPr>
            <a:xfrm>
              <a:off x="7588950" y="2705698"/>
              <a:ext cx="742914" cy="2402205"/>
              <a:chOff x="7588950" y="2705698"/>
              <a:chExt cx="742914" cy="2402205"/>
            </a:xfrm>
          </p:grpSpPr>
          <p:grpSp>
            <p:nvGrpSpPr>
              <p:cNvPr id="545796" name="Group 46"/>
              <p:cNvGrpSpPr>
                <a:grpSpLocks/>
              </p:cNvGrpSpPr>
              <p:nvPr/>
            </p:nvGrpSpPr>
            <p:grpSpPr bwMode="auto">
              <a:xfrm>
                <a:off x="7588950" y="2705698"/>
                <a:ext cx="742914" cy="2402205"/>
                <a:chOff x="3608" y="4160"/>
                <a:chExt cx="1060" cy="3427"/>
              </a:xfrm>
            </p:grpSpPr>
            <p:pic>
              <p:nvPicPr>
                <p:cNvPr id="545839" name="Picture 47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08" y="4160"/>
                  <a:ext cx="1060" cy="342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545797" name="Group 48"/>
                <p:cNvGrpSpPr>
                  <a:grpSpLocks/>
                </p:cNvGrpSpPr>
                <p:nvPr/>
              </p:nvGrpSpPr>
              <p:grpSpPr bwMode="auto">
                <a:xfrm>
                  <a:off x="3608" y="4160"/>
                  <a:ext cx="1060" cy="3427"/>
                  <a:chOff x="3608" y="695"/>
                  <a:chExt cx="1060" cy="3427"/>
                </a:xfrm>
              </p:grpSpPr>
              <p:sp>
                <p:nvSpPr>
                  <p:cNvPr id="545894" name="Freeform 49"/>
                  <p:cNvSpPr>
                    <a:spLocks/>
                  </p:cNvSpPr>
                  <p:nvPr/>
                </p:nvSpPr>
                <p:spPr bwMode="auto">
                  <a:xfrm>
                    <a:off x="3608" y="695"/>
                    <a:ext cx="1060" cy="3427"/>
                  </a:xfrm>
                  <a:custGeom>
                    <a:avLst/>
                    <a:gdLst>
                      <a:gd name="T0" fmla="+- 0 4490 3608"/>
                      <a:gd name="T1" fmla="*/ T0 w 1060"/>
                      <a:gd name="T2" fmla="+- 0 4060 695"/>
                      <a:gd name="T3" fmla="*/ 4060 h 3427"/>
                      <a:gd name="T4" fmla="+- 0 4485 3608"/>
                      <a:gd name="T5" fmla="*/ T4 w 1060"/>
                      <a:gd name="T6" fmla="+- 0 4060 695"/>
                      <a:gd name="T7" fmla="*/ 4060 h 3427"/>
                      <a:gd name="T8" fmla="+- 0 4481 3608"/>
                      <a:gd name="T9" fmla="*/ T8 w 1060"/>
                      <a:gd name="T10" fmla="+- 0 4055 695"/>
                      <a:gd name="T11" fmla="*/ 4055 h 3427"/>
                      <a:gd name="T12" fmla="+- 0 4481 3608"/>
                      <a:gd name="T13" fmla="*/ T12 w 1060"/>
                      <a:gd name="T14" fmla="+- 0 4050 695"/>
                      <a:gd name="T15" fmla="*/ 4050 h 3427"/>
                      <a:gd name="T16" fmla="+- 0 4481 3608"/>
                      <a:gd name="T17" fmla="*/ T16 w 1060"/>
                      <a:gd name="T18" fmla="+- 0 704 695"/>
                      <a:gd name="T19" fmla="*/ 704 h 3427"/>
                      <a:gd name="T20" fmla="+- 0 4481 3608"/>
                      <a:gd name="T21" fmla="*/ T20 w 1060"/>
                      <a:gd name="T22" fmla="+- 0 699 695"/>
                      <a:gd name="T23" fmla="*/ 699 h 3427"/>
                      <a:gd name="T24" fmla="+- 0 4476 3608"/>
                      <a:gd name="T25" fmla="*/ T24 w 1060"/>
                      <a:gd name="T26" fmla="+- 0 695 695"/>
                      <a:gd name="T27" fmla="*/ 695 h 3427"/>
                      <a:gd name="T28" fmla="+- 0 4471 3608"/>
                      <a:gd name="T29" fmla="*/ T28 w 1060"/>
                      <a:gd name="T30" fmla="+- 0 695 695"/>
                      <a:gd name="T31" fmla="*/ 695 h 3427"/>
                      <a:gd name="T32" fmla="+- 0 3805 3608"/>
                      <a:gd name="T33" fmla="*/ T32 w 1060"/>
                      <a:gd name="T34" fmla="+- 0 695 695"/>
                      <a:gd name="T35" fmla="*/ 695 h 3427"/>
                      <a:gd name="T36" fmla="+- 0 3800 3608"/>
                      <a:gd name="T37" fmla="*/ T36 w 1060"/>
                      <a:gd name="T38" fmla="+- 0 695 695"/>
                      <a:gd name="T39" fmla="*/ 695 h 3427"/>
                      <a:gd name="T40" fmla="+- 0 3795 3608"/>
                      <a:gd name="T41" fmla="*/ T40 w 1060"/>
                      <a:gd name="T42" fmla="+- 0 699 695"/>
                      <a:gd name="T43" fmla="*/ 699 h 3427"/>
                      <a:gd name="T44" fmla="+- 0 3795 3608"/>
                      <a:gd name="T45" fmla="*/ T44 w 1060"/>
                      <a:gd name="T46" fmla="+- 0 704 695"/>
                      <a:gd name="T47" fmla="*/ 704 h 3427"/>
                      <a:gd name="T48" fmla="+- 0 3795 3608"/>
                      <a:gd name="T49" fmla="*/ T48 w 1060"/>
                      <a:gd name="T50" fmla="+- 0 4050 695"/>
                      <a:gd name="T51" fmla="*/ 4050 h 3427"/>
                      <a:gd name="T52" fmla="+- 0 3795 3608"/>
                      <a:gd name="T53" fmla="*/ T52 w 1060"/>
                      <a:gd name="T54" fmla="+- 0 4055 695"/>
                      <a:gd name="T55" fmla="*/ 4055 h 3427"/>
                      <a:gd name="T56" fmla="+- 0 3791 3608"/>
                      <a:gd name="T57" fmla="*/ T56 w 1060"/>
                      <a:gd name="T58" fmla="+- 0 4060 695"/>
                      <a:gd name="T59" fmla="*/ 4060 h 3427"/>
                      <a:gd name="T60" fmla="+- 0 3786 3608"/>
                      <a:gd name="T61" fmla="*/ T60 w 1060"/>
                      <a:gd name="T62" fmla="+- 0 4060 695"/>
                      <a:gd name="T63" fmla="*/ 4060 h 3427"/>
                      <a:gd name="T64" fmla="+- 0 3617 3608"/>
                      <a:gd name="T65" fmla="*/ T64 w 1060"/>
                      <a:gd name="T66" fmla="+- 0 4082 695"/>
                      <a:gd name="T67" fmla="*/ 4082 h 3427"/>
                      <a:gd name="T68" fmla="+- 0 3612 3608"/>
                      <a:gd name="T69" fmla="*/ T68 w 1060"/>
                      <a:gd name="T70" fmla="+- 0 4083 695"/>
                      <a:gd name="T71" fmla="*/ 4083 h 3427"/>
                      <a:gd name="T72" fmla="+- 0 3608 3608"/>
                      <a:gd name="T73" fmla="*/ T72 w 1060"/>
                      <a:gd name="T74" fmla="+- 0 4088 695"/>
                      <a:gd name="T75" fmla="*/ 4088 h 3427"/>
                      <a:gd name="T76" fmla="+- 0 3608 3608"/>
                      <a:gd name="T77" fmla="*/ T76 w 1060"/>
                      <a:gd name="T78" fmla="+- 0 4093 695"/>
                      <a:gd name="T79" fmla="*/ 4093 h 3427"/>
                      <a:gd name="T80" fmla="+- 0 3608 3608"/>
                      <a:gd name="T81" fmla="*/ T80 w 1060"/>
                      <a:gd name="T82" fmla="+- 0 4113 695"/>
                      <a:gd name="T83" fmla="*/ 4113 h 3427"/>
                      <a:gd name="T84" fmla="+- 0 3608 3608"/>
                      <a:gd name="T85" fmla="*/ T84 w 1060"/>
                      <a:gd name="T86" fmla="+- 0 4118 695"/>
                      <a:gd name="T87" fmla="*/ 4118 h 3427"/>
                      <a:gd name="T88" fmla="+- 0 3612 3608"/>
                      <a:gd name="T89" fmla="*/ T88 w 1060"/>
                      <a:gd name="T90" fmla="+- 0 4122 695"/>
                      <a:gd name="T91" fmla="*/ 4122 h 3427"/>
                      <a:gd name="T92" fmla="+- 0 4664 3608"/>
                      <a:gd name="T93" fmla="*/ T92 w 1060"/>
                      <a:gd name="T94" fmla="+- 0 4122 695"/>
                      <a:gd name="T95" fmla="*/ 4122 h 3427"/>
                      <a:gd name="T96" fmla="+- 0 4668 3608"/>
                      <a:gd name="T97" fmla="*/ T96 w 1060"/>
                      <a:gd name="T98" fmla="+- 0 4118 695"/>
                      <a:gd name="T99" fmla="*/ 4118 h 3427"/>
                      <a:gd name="T100" fmla="+- 0 4668 3608"/>
                      <a:gd name="T101" fmla="*/ T100 w 1060"/>
                      <a:gd name="T102" fmla="+- 0 4113 695"/>
                      <a:gd name="T103" fmla="*/ 4113 h 3427"/>
                      <a:gd name="T104" fmla="+- 0 4668 3608"/>
                      <a:gd name="T105" fmla="*/ T104 w 1060"/>
                      <a:gd name="T106" fmla="+- 0 4093 695"/>
                      <a:gd name="T107" fmla="*/ 4093 h 3427"/>
                      <a:gd name="T108" fmla="+- 0 4668 3608"/>
                      <a:gd name="T109" fmla="*/ T108 w 1060"/>
                      <a:gd name="T110" fmla="+- 0 4088 695"/>
                      <a:gd name="T111" fmla="*/ 4088 h 3427"/>
                      <a:gd name="T112" fmla="+- 0 4664 3608"/>
                      <a:gd name="T113" fmla="*/ T112 w 1060"/>
                      <a:gd name="T114" fmla="+- 0 4083 695"/>
                      <a:gd name="T115" fmla="*/ 4083 h 3427"/>
                      <a:gd name="T116" fmla="+- 0 4659 3608"/>
                      <a:gd name="T117" fmla="*/ T116 w 1060"/>
                      <a:gd name="T118" fmla="+- 0 4082 695"/>
                      <a:gd name="T119" fmla="*/ 4082 h 3427"/>
                      <a:gd name="T120" fmla="+- 0 4490 3608"/>
                      <a:gd name="T121" fmla="*/ T120 w 1060"/>
                      <a:gd name="T122" fmla="+- 0 4060 695"/>
                      <a:gd name="T123" fmla="*/ 4060 h 342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  <a:cxn ang="0">
                        <a:pos x="T69" y="T71"/>
                      </a:cxn>
                      <a:cxn ang="0">
                        <a:pos x="T73" y="T75"/>
                      </a:cxn>
                      <a:cxn ang="0">
                        <a:pos x="T77" y="T79"/>
                      </a:cxn>
                      <a:cxn ang="0">
                        <a:pos x="T81" y="T83"/>
                      </a:cxn>
                      <a:cxn ang="0">
                        <a:pos x="T85" y="T87"/>
                      </a:cxn>
                      <a:cxn ang="0">
                        <a:pos x="T89" y="T91"/>
                      </a:cxn>
                      <a:cxn ang="0">
                        <a:pos x="T93" y="T95"/>
                      </a:cxn>
                      <a:cxn ang="0">
                        <a:pos x="T97" y="T99"/>
                      </a:cxn>
                      <a:cxn ang="0">
                        <a:pos x="T101" y="T103"/>
                      </a:cxn>
                      <a:cxn ang="0">
                        <a:pos x="T105" y="T107"/>
                      </a:cxn>
                      <a:cxn ang="0">
                        <a:pos x="T109" y="T111"/>
                      </a:cxn>
                      <a:cxn ang="0">
                        <a:pos x="T113" y="T115"/>
                      </a:cxn>
                      <a:cxn ang="0">
                        <a:pos x="T117" y="T119"/>
                      </a:cxn>
                      <a:cxn ang="0">
                        <a:pos x="T121" y="T123"/>
                      </a:cxn>
                    </a:cxnLst>
                    <a:rect l="0" t="0" r="r" b="b"/>
                    <a:pathLst>
                      <a:path w="1060" h="3427">
                        <a:moveTo>
                          <a:pt x="882" y="3365"/>
                        </a:moveTo>
                        <a:lnTo>
                          <a:pt x="877" y="3365"/>
                        </a:lnTo>
                        <a:lnTo>
                          <a:pt x="873" y="3360"/>
                        </a:lnTo>
                        <a:lnTo>
                          <a:pt x="873" y="3355"/>
                        </a:lnTo>
                        <a:lnTo>
                          <a:pt x="873" y="9"/>
                        </a:lnTo>
                        <a:lnTo>
                          <a:pt x="873" y="4"/>
                        </a:lnTo>
                        <a:lnTo>
                          <a:pt x="868" y="0"/>
                        </a:lnTo>
                        <a:lnTo>
                          <a:pt x="863" y="0"/>
                        </a:lnTo>
                        <a:lnTo>
                          <a:pt x="197" y="0"/>
                        </a:lnTo>
                        <a:lnTo>
                          <a:pt x="192" y="0"/>
                        </a:lnTo>
                        <a:lnTo>
                          <a:pt x="187" y="4"/>
                        </a:lnTo>
                        <a:lnTo>
                          <a:pt x="187" y="9"/>
                        </a:lnTo>
                        <a:lnTo>
                          <a:pt x="187" y="3355"/>
                        </a:lnTo>
                        <a:lnTo>
                          <a:pt x="187" y="3360"/>
                        </a:lnTo>
                        <a:lnTo>
                          <a:pt x="183" y="3365"/>
                        </a:lnTo>
                        <a:lnTo>
                          <a:pt x="178" y="3365"/>
                        </a:lnTo>
                        <a:lnTo>
                          <a:pt x="9" y="3387"/>
                        </a:lnTo>
                        <a:lnTo>
                          <a:pt x="4" y="3388"/>
                        </a:lnTo>
                        <a:lnTo>
                          <a:pt x="0" y="3393"/>
                        </a:lnTo>
                        <a:lnTo>
                          <a:pt x="0" y="3398"/>
                        </a:lnTo>
                        <a:lnTo>
                          <a:pt x="0" y="3418"/>
                        </a:lnTo>
                        <a:lnTo>
                          <a:pt x="0" y="3423"/>
                        </a:lnTo>
                        <a:lnTo>
                          <a:pt x="4" y="3427"/>
                        </a:lnTo>
                        <a:lnTo>
                          <a:pt x="1056" y="3427"/>
                        </a:lnTo>
                        <a:lnTo>
                          <a:pt x="1060" y="3423"/>
                        </a:lnTo>
                        <a:lnTo>
                          <a:pt x="1060" y="3418"/>
                        </a:lnTo>
                        <a:lnTo>
                          <a:pt x="1060" y="3398"/>
                        </a:lnTo>
                        <a:lnTo>
                          <a:pt x="1060" y="3393"/>
                        </a:lnTo>
                        <a:lnTo>
                          <a:pt x="1056" y="3388"/>
                        </a:lnTo>
                        <a:lnTo>
                          <a:pt x="1051" y="3387"/>
                        </a:lnTo>
                        <a:lnTo>
                          <a:pt x="882" y="3365"/>
                        </a:lnTo>
                        <a:close/>
                      </a:path>
                    </a:pathLst>
                  </a:custGeom>
                  <a:noFill/>
                  <a:ln w="1054">
                    <a:solidFill>
                      <a:srgbClr val="1C1E1D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799" name="Group 50"/>
                <p:cNvGrpSpPr>
                  <a:grpSpLocks/>
                </p:cNvGrpSpPr>
                <p:nvPr/>
              </p:nvGrpSpPr>
              <p:grpSpPr bwMode="auto">
                <a:xfrm>
                  <a:off x="4056" y="6821"/>
                  <a:ext cx="152" cy="151"/>
                  <a:chOff x="4056" y="3356"/>
                  <a:chExt cx="152" cy="151"/>
                </a:xfrm>
              </p:grpSpPr>
              <p:sp>
                <p:nvSpPr>
                  <p:cNvPr id="545893" name="Freeform 51"/>
                  <p:cNvSpPr>
                    <a:spLocks/>
                  </p:cNvSpPr>
                  <p:nvPr/>
                </p:nvSpPr>
                <p:spPr bwMode="auto">
                  <a:xfrm>
                    <a:off x="4056" y="3356"/>
                    <a:ext cx="152" cy="151"/>
                  </a:xfrm>
                  <a:custGeom>
                    <a:avLst/>
                    <a:gdLst>
                      <a:gd name="T0" fmla="+- 0 4132 4056"/>
                      <a:gd name="T1" fmla="*/ T0 w 152"/>
                      <a:gd name="T2" fmla="+- 0 3356 3356"/>
                      <a:gd name="T3" fmla="*/ 3356 h 151"/>
                      <a:gd name="T4" fmla="+- 0 4068 4056"/>
                      <a:gd name="T5" fmla="*/ T4 w 152"/>
                      <a:gd name="T6" fmla="+- 0 3391 3356"/>
                      <a:gd name="T7" fmla="*/ 3391 h 151"/>
                      <a:gd name="T8" fmla="+- 0 4056 4056"/>
                      <a:gd name="T9" fmla="*/ T8 w 152"/>
                      <a:gd name="T10" fmla="+- 0 3434 3356"/>
                      <a:gd name="T11" fmla="*/ 3434 h 151"/>
                      <a:gd name="T12" fmla="+- 0 4059 4056"/>
                      <a:gd name="T13" fmla="*/ T12 w 152"/>
                      <a:gd name="T14" fmla="+- 0 3454 3356"/>
                      <a:gd name="T15" fmla="*/ 3454 h 151"/>
                      <a:gd name="T16" fmla="+- 0 4121 4056"/>
                      <a:gd name="T17" fmla="*/ T16 w 152"/>
                      <a:gd name="T18" fmla="+- 0 3505 3356"/>
                      <a:gd name="T19" fmla="*/ 3505 h 151"/>
                      <a:gd name="T20" fmla="+- 0 4148 4056"/>
                      <a:gd name="T21" fmla="*/ T20 w 152"/>
                      <a:gd name="T22" fmla="+- 0 3507 3356"/>
                      <a:gd name="T23" fmla="*/ 3507 h 151"/>
                      <a:gd name="T24" fmla="+- 0 4168 4056"/>
                      <a:gd name="T25" fmla="*/ T24 w 152"/>
                      <a:gd name="T26" fmla="+- 0 3500 3356"/>
                      <a:gd name="T27" fmla="*/ 3500 h 151"/>
                      <a:gd name="T28" fmla="+- 0 4184 4056"/>
                      <a:gd name="T29" fmla="*/ T28 w 152"/>
                      <a:gd name="T30" fmla="+- 0 3487 3356"/>
                      <a:gd name="T31" fmla="*/ 3487 h 151"/>
                      <a:gd name="T32" fmla="+- 0 4197 4056"/>
                      <a:gd name="T33" fmla="*/ T32 w 152"/>
                      <a:gd name="T34" fmla="+- 0 3470 3356"/>
                      <a:gd name="T35" fmla="*/ 3470 h 151"/>
                      <a:gd name="T36" fmla="+- 0 4205 4056"/>
                      <a:gd name="T37" fmla="*/ T36 w 152"/>
                      <a:gd name="T38" fmla="+- 0 3449 3356"/>
                      <a:gd name="T39" fmla="*/ 3449 h 151"/>
                      <a:gd name="T40" fmla="+- 0 4208 4056"/>
                      <a:gd name="T41" fmla="*/ T40 w 152"/>
                      <a:gd name="T42" fmla="+- 0 3423 3356"/>
                      <a:gd name="T43" fmla="*/ 3423 h 151"/>
                      <a:gd name="T44" fmla="+- 0 4202 4056"/>
                      <a:gd name="T45" fmla="*/ T44 w 152"/>
                      <a:gd name="T46" fmla="+- 0 3402 3356"/>
                      <a:gd name="T47" fmla="*/ 3402 h 151"/>
                      <a:gd name="T48" fmla="+- 0 4191 4056"/>
                      <a:gd name="T49" fmla="*/ T48 w 152"/>
                      <a:gd name="T50" fmla="+- 0 3383 3356"/>
                      <a:gd name="T51" fmla="*/ 3383 h 151"/>
                      <a:gd name="T52" fmla="+- 0 4174 4056"/>
                      <a:gd name="T53" fmla="*/ T52 w 152"/>
                      <a:gd name="T54" fmla="+- 0 3369 3356"/>
                      <a:gd name="T55" fmla="*/ 3369 h 151"/>
                      <a:gd name="T56" fmla="+- 0 4155 4056"/>
                      <a:gd name="T57" fmla="*/ T56 w 152"/>
                      <a:gd name="T58" fmla="+- 0 3360 3356"/>
                      <a:gd name="T59" fmla="*/ 3360 h 151"/>
                      <a:gd name="T60" fmla="+- 0 4132 4056"/>
                      <a:gd name="T61" fmla="*/ T60 w 152"/>
                      <a:gd name="T62" fmla="+- 0 3356 3356"/>
                      <a:gd name="T63" fmla="*/ 3356 h 15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</a:cxnLst>
                    <a:rect l="0" t="0" r="r" b="b"/>
                    <a:pathLst>
                      <a:path w="152" h="151">
                        <a:moveTo>
                          <a:pt x="76" y="0"/>
                        </a:moveTo>
                        <a:lnTo>
                          <a:pt x="12" y="35"/>
                        </a:lnTo>
                        <a:lnTo>
                          <a:pt x="0" y="78"/>
                        </a:lnTo>
                        <a:lnTo>
                          <a:pt x="3" y="98"/>
                        </a:lnTo>
                        <a:lnTo>
                          <a:pt x="65" y="149"/>
                        </a:lnTo>
                        <a:lnTo>
                          <a:pt x="92" y="151"/>
                        </a:lnTo>
                        <a:lnTo>
                          <a:pt x="112" y="144"/>
                        </a:lnTo>
                        <a:lnTo>
                          <a:pt x="128" y="131"/>
                        </a:lnTo>
                        <a:lnTo>
                          <a:pt x="141" y="114"/>
                        </a:lnTo>
                        <a:lnTo>
                          <a:pt x="149" y="93"/>
                        </a:lnTo>
                        <a:lnTo>
                          <a:pt x="152" y="67"/>
                        </a:lnTo>
                        <a:lnTo>
                          <a:pt x="146" y="46"/>
                        </a:lnTo>
                        <a:lnTo>
                          <a:pt x="135" y="27"/>
                        </a:lnTo>
                        <a:lnTo>
                          <a:pt x="118" y="13"/>
                        </a:lnTo>
                        <a:lnTo>
                          <a:pt x="99" y="4"/>
                        </a:lnTo>
                        <a:lnTo>
                          <a:pt x="76" y="0"/>
                        </a:lnTo>
                        <a:close/>
                      </a:path>
                    </a:pathLst>
                  </a:custGeom>
                  <a:solidFill>
                    <a:srgbClr val="1C1E1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00" name="Group 52"/>
                <p:cNvGrpSpPr>
                  <a:grpSpLocks/>
                </p:cNvGrpSpPr>
                <p:nvPr/>
              </p:nvGrpSpPr>
              <p:grpSpPr bwMode="auto">
                <a:xfrm>
                  <a:off x="4056" y="6821"/>
                  <a:ext cx="152" cy="151"/>
                  <a:chOff x="4056" y="3356"/>
                  <a:chExt cx="152" cy="151"/>
                </a:xfrm>
              </p:grpSpPr>
              <p:sp>
                <p:nvSpPr>
                  <p:cNvPr id="545891" name="Freeform 53"/>
                  <p:cNvSpPr>
                    <a:spLocks/>
                  </p:cNvSpPr>
                  <p:nvPr/>
                </p:nvSpPr>
                <p:spPr bwMode="auto">
                  <a:xfrm>
                    <a:off x="4056" y="3356"/>
                    <a:ext cx="152" cy="151"/>
                  </a:xfrm>
                  <a:custGeom>
                    <a:avLst/>
                    <a:gdLst>
                      <a:gd name="T0" fmla="+- 0 4132 4056"/>
                      <a:gd name="T1" fmla="*/ T0 w 152"/>
                      <a:gd name="T2" fmla="+- 0 3356 3356"/>
                      <a:gd name="T3" fmla="*/ 3356 h 151"/>
                      <a:gd name="T4" fmla="+- 0 4191 4056"/>
                      <a:gd name="T5" fmla="*/ T4 w 152"/>
                      <a:gd name="T6" fmla="+- 0 3383 3356"/>
                      <a:gd name="T7" fmla="*/ 3383 h 151"/>
                      <a:gd name="T8" fmla="+- 0 4208 4056"/>
                      <a:gd name="T9" fmla="*/ T8 w 152"/>
                      <a:gd name="T10" fmla="+- 0 3423 3356"/>
                      <a:gd name="T11" fmla="*/ 3423 h 151"/>
                      <a:gd name="T12" fmla="+- 0 4205 4056"/>
                      <a:gd name="T13" fmla="*/ T12 w 152"/>
                      <a:gd name="T14" fmla="+- 0 3449 3356"/>
                      <a:gd name="T15" fmla="*/ 3449 h 151"/>
                      <a:gd name="T16" fmla="+- 0 4197 4056"/>
                      <a:gd name="T17" fmla="*/ T16 w 152"/>
                      <a:gd name="T18" fmla="+- 0 3470 3356"/>
                      <a:gd name="T19" fmla="*/ 3470 h 151"/>
                      <a:gd name="T20" fmla="+- 0 4184 4056"/>
                      <a:gd name="T21" fmla="*/ T20 w 152"/>
                      <a:gd name="T22" fmla="+- 0 3487 3356"/>
                      <a:gd name="T23" fmla="*/ 3487 h 151"/>
                      <a:gd name="T24" fmla="+- 0 4168 4056"/>
                      <a:gd name="T25" fmla="*/ T24 w 152"/>
                      <a:gd name="T26" fmla="+- 0 3500 3356"/>
                      <a:gd name="T27" fmla="*/ 3500 h 151"/>
                      <a:gd name="T28" fmla="+- 0 4148 4056"/>
                      <a:gd name="T29" fmla="*/ T28 w 152"/>
                      <a:gd name="T30" fmla="+- 0 3507 3356"/>
                      <a:gd name="T31" fmla="*/ 3507 h 151"/>
                      <a:gd name="T32" fmla="+- 0 4121 4056"/>
                      <a:gd name="T33" fmla="*/ T32 w 152"/>
                      <a:gd name="T34" fmla="+- 0 3505 3356"/>
                      <a:gd name="T35" fmla="*/ 3505 h 151"/>
                      <a:gd name="T36" fmla="+- 0 4067 4056"/>
                      <a:gd name="T37" fmla="*/ T36 w 152"/>
                      <a:gd name="T38" fmla="+- 0 3472 3356"/>
                      <a:gd name="T39" fmla="*/ 3472 h 151"/>
                      <a:gd name="T40" fmla="+- 0 4056 4056"/>
                      <a:gd name="T41" fmla="*/ T40 w 152"/>
                      <a:gd name="T42" fmla="+- 0 3434 3356"/>
                      <a:gd name="T43" fmla="*/ 3434 h 151"/>
                      <a:gd name="T44" fmla="+- 0 4059 4056"/>
                      <a:gd name="T45" fmla="*/ T44 w 152"/>
                      <a:gd name="T46" fmla="+- 0 3411 3356"/>
                      <a:gd name="T47" fmla="*/ 3411 h 151"/>
                      <a:gd name="T48" fmla="+- 0 4101 4056"/>
                      <a:gd name="T49" fmla="*/ T48 w 152"/>
                      <a:gd name="T50" fmla="+- 0 3363 3356"/>
                      <a:gd name="T51" fmla="*/ 3363 h 151"/>
                      <a:gd name="T52" fmla="+- 0 4132 4056"/>
                      <a:gd name="T53" fmla="*/ T52 w 152"/>
                      <a:gd name="T54" fmla="+- 0 3356 3356"/>
                      <a:gd name="T55" fmla="*/ 3356 h 15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</a:cxnLst>
                    <a:rect l="0" t="0" r="r" b="b"/>
                    <a:pathLst>
                      <a:path w="152" h="151">
                        <a:moveTo>
                          <a:pt x="76" y="0"/>
                        </a:moveTo>
                        <a:lnTo>
                          <a:pt x="135" y="27"/>
                        </a:lnTo>
                        <a:lnTo>
                          <a:pt x="152" y="67"/>
                        </a:lnTo>
                        <a:lnTo>
                          <a:pt x="149" y="93"/>
                        </a:lnTo>
                        <a:lnTo>
                          <a:pt x="141" y="114"/>
                        </a:lnTo>
                        <a:lnTo>
                          <a:pt x="128" y="131"/>
                        </a:lnTo>
                        <a:lnTo>
                          <a:pt x="112" y="144"/>
                        </a:lnTo>
                        <a:lnTo>
                          <a:pt x="92" y="151"/>
                        </a:lnTo>
                        <a:lnTo>
                          <a:pt x="65" y="149"/>
                        </a:lnTo>
                        <a:lnTo>
                          <a:pt x="11" y="116"/>
                        </a:lnTo>
                        <a:lnTo>
                          <a:pt x="0" y="78"/>
                        </a:lnTo>
                        <a:lnTo>
                          <a:pt x="3" y="55"/>
                        </a:lnTo>
                        <a:lnTo>
                          <a:pt x="45" y="7"/>
                        </a:lnTo>
                        <a:lnTo>
                          <a:pt x="76" y="0"/>
                        </a:lnTo>
                        <a:close/>
                      </a:path>
                    </a:pathLst>
                  </a:custGeom>
                  <a:noFill/>
                  <a:ln w="6286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892" name="Picture 54"/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28" y="2010"/>
                    <a:ext cx="206" cy="975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545801" name="Group 55"/>
                <p:cNvGrpSpPr>
                  <a:grpSpLocks/>
                </p:cNvGrpSpPr>
                <p:nvPr/>
              </p:nvGrpSpPr>
              <p:grpSpPr bwMode="auto">
                <a:xfrm>
                  <a:off x="4028" y="5475"/>
                  <a:ext cx="206" cy="975"/>
                  <a:chOff x="4028" y="2010"/>
                  <a:chExt cx="206" cy="975"/>
                </a:xfrm>
              </p:grpSpPr>
              <p:sp>
                <p:nvSpPr>
                  <p:cNvPr id="545890" name="Freeform 56"/>
                  <p:cNvSpPr>
                    <a:spLocks/>
                  </p:cNvSpPr>
                  <p:nvPr/>
                </p:nvSpPr>
                <p:spPr bwMode="auto">
                  <a:xfrm>
                    <a:off x="4028" y="2010"/>
                    <a:ext cx="206" cy="975"/>
                  </a:xfrm>
                  <a:custGeom>
                    <a:avLst/>
                    <a:gdLst>
                      <a:gd name="T0" fmla="+- 0 4234 4028"/>
                      <a:gd name="T1" fmla="*/ T0 w 206"/>
                      <a:gd name="T2" fmla="+- 0 2985 2010"/>
                      <a:gd name="T3" fmla="*/ 2985 h 975"/>
                      <a:gd name="T4" fmla="+- 0 4028 4028"/>
                      <a:gd name="T5" fmla="*/ T4 w 206"/>
                      <a:gd name="T6" fmla="+- 0 2985 2010"/>
                      <a:gd name="T7" fmla="*/ 2985 h 975"/>
                      <a:gd name="T8" fmla="+- 0 4028 4028"/>
                      <a:gd name="T9" fmla="*/ T8 w 206"/>
                      <a:gd name="T10" fmla="+- 0 2010 2010"/>
                      <a:gd name="T11" fmla="*/ 2010 h 975"/>
                      <a:gd name="T12" fmla="+- 0 4234 4028"/>
                      <a:gd name="T13" fmla="*/ T12 w 206"/>
                      <a:gd name="T14" fmla="+- 0 2010 2010"/>
                      <a:gd name="T15" fmla="*/ 2010 h 975"/>
                      <a:gd name="T16" fmla="+- 0 4234 4028"/>
                      <a:gd name="T17" fmla="*/ T16 w 206"/>
                      <a:gd name="T18" fmla="+- 0 2985 2010"/>
                      <a:gd name="T19" fmla="*/ 2985 h 975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06" h="975">
                        <a:moveTo>
                          <a:pt x="206" y="975"/>
                        </a:moveTo>
                        <a:lnTo>
                          <a:pt x="0" y="975"/>
                        </a:lnTo>
                        <a:lnTo>
                          <a:pt x="0" y="0"/>
                        </a:lnTo>
                        <a:lnTo>
                          <a:pt x="206" y="0"/>
                        </a:lnTo>
                        <a:lnTo>
                          <a:pt x="206" y="975"/>
                        </a:lnTo>
                        <a:close/>
                      </a:path>
                    </a:pathLst>
                  </a:custGeom>
                  <a:noFill/>
                  <a:ln w="2096">
                    <a:solidFill>
                      <a:srgbClr val="2C0E0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03" name="Group 57"/>
                <p:cNvGrpSpPr>
                  <a:grpSpLocks/>
                </p:cNvGrpSpPr>
                <p:nvPr/>
              </p:nvGrpSpPr>
              <p:grpSpPr bwMode="auto">
                <a:xfrm>
                  <a:off x="4027" y="7221"/>
                  <a:ext cx="363" cy="133"/>
                  <a:chOff x="4027" y="3756"/>
                  <a:chExt cx="363" cy="133"/>
                </a:xfrm>
              </p:grpSpPr>
              <p:sp>
                <p:nvSpPr>
                  <p:cNvPr id="545889" name="Freeform 58"/>
                  <p:cNvSpPr>
                    <a:spLocks/>
                  </p:cNvSpPr>
                  <p:nvPr/>
                </p:nvSpPr>
                <p:spPr bwMode="auto">
                  <a:xfrm>
                    <a:off x="4027" y="3756"/>
                    <a:ext cx="363" cy="133"/>
                  </a:xfrm>
                  <a:custGeom>
                    <a:avLst/>
                    <a:gdLst>
                      <a:gd name="T0" fmla="+- 0 4389 4027"/>
                      <a:gd name="T1" fmla="*/ T0 w 363"/>
                      <a:gd name="T2" fmla="+- 0 3756 3756"/>
                      <a:gd name="T3" fmla="*/ 3756 h 133"/>
                      <a:gd name="T4" fmla="+- 0 4027 4027"/>
                      <a:gd name="T5" fmla="*/ T4 w 363"/>
                      <a:gd name="T6" fmla="+- 0 3756 3756"/>
                      <a:gd name="T7" fmla="*/ 3756 h 133"/>
                      <a:gd name="T8" fmla="+- 0 4027 4027"/>
                      <a:gd name="T9" fmla="*/ T8 w 363"/>
                      <a:gd name="T10" fmla="+- 0 3756 3756"/>
                      <a:gd name="T11" fmla="*/ 3756 h 133"/>
                      <a:gd name="T12" fmla="+- 0 4027 4027"/>
                      <a:gd name="T13" fmla="*/ T12 w 363"/>
                      <a:gd name="T14" fmla="+- 0 3888 3756"/>
                      <a:gd name="T15" fmla="*/ 3888 h 133"/>
                      <a:gd name="T16" fmla="+- 0 4027 4027"/>
                      <a:gd name="T17" fmla="*/ T16 w 363"/>
                      <a:gd name="T18" fmla="+- 0 3889 3756"/>
                      <a:gd name="T19" fmla="*/ 3889 h 133"/>
                      <a:gd name="T20" fmla="+- 0 4389 4027"/>
                      <a:gd name="T21" fmla="*/ T20 w 363"/>
                      <a:gd name="T22" fmla="+- 0 3889 3756"/>
                      <a:gd name="T23" fmla="*/ 3889 h 133"/>
                      <a:gd name="T24" fmla="+- 0 4389 4027"/>
                      <a:gd name="T25" fmla="*/ T24 w 363"/>
                      <a:gd name="T26" fmla="+- 0 3888 3756"/>
                      <a:gd name="T27" fmla="*/ 3888 h 133"/>
                      <a:gd name="T28" fmla="+- 0 4389 4027"/>
                      <a:gd name="T29" fmla="*/ T28 w 363"/>
                      <a:gd name="T30" fmla="+- 0 3756 3756"/>
                      <a:gd name="T31" fmla="*/ 3756 h 133"/>
                      <a:gd name="T32" fmla="+- 0 4389 4027"/>
                      <a:gd name="T33" fmla="*/ T32 w 363"/>
                      <a:gd name="T34" fmla="+- 0 3756 3756"/>
                      <a:gd name="T35" fmla="*/ 3756 h 133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363" h="133">
                        <a:moveTo>
                          <a:pt x="362" y="0"/>
                        </a:moveTo>
                        <a:lnTo>
                          <a:pt x="0" y="0"/>
                        </a:lnTo>
                        <a:lnTo>
                          <a:pt x="0" y="132"/>
                        </a:lnTo>
                        <a:lnTo>
                          <a:pt x="0" y="133"/>
                        </a:lnTo>
                        <a:lnTo>
                          <a:pt x="362" y="133"/>
                        </a:lnTo>
                        <a:lnTo>
                          <a:pt x="362" y="132"/>
                        </a:lnTo>
                        <a:lnTo>
                          <a:pt x="362" y="0"/>
                        </a:lnTo>
                        <a:close/>
                      </a:path>
                    </a:pathLst>
                  </a:custGeom>
                  <a:solidFill>
                    <a:srgbClr val="76797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04" name="Group 59"/>
                <p:cNvGrpSpPr>
                  <a:grpSpLocks/>
                </p:cNvGrpSpPr>
                <p:nvPr/>
              </p:nvGrpSpPr>
              <p:grpSpPr bwMode="auto">
                <a:xfrm>
                  <a:off x="4027" y="7221"/>
                  <a:ext cx="363" cy="133"/>
                  <a:chOff x="4027" y="3756"/>
                  <a:chExt cx="363" cy="133"/>
                </a:xfrm>
              </p:grpSpPr>
              <p:sp>
                <p:nvSpPr>
                  <p:cNvPr id="545888" name="Freeform 60"/>
                  <p:cNvSpPr>
                    <a:spLocks/>
                  </p:cNvSpPr>
                  <p:nvPr/>
                </p:nvSpPr>
                <p:spPr bwMode="auto">
                  <a:xfrm>
                    <a:off x="4027" y="3756"/>
                    <a:ext cx="363" cy="133"/>
                  </a:xfrm>
                  <a:custGeom>
                    <a:avLst/>
                    <a:gdLst>
                      <a:gd name="T0" fmla="+- 0 4389 4027"/>
                      <a:gd name="T1" fmla="*/ T0 w 363"/>
                      <a:gd name="T2" fmla="+- 0 3756 3756"/>
                      <a:gd name="T3" fmla="*/ 3756 h 133"/>
                      <a:gd name="T4" fmla="+- 0 4389 4027"/>
                      <a:gd name="T5" fmla="*/ T4 w 363"/>
                      <a:gd name="T6" fmla="+- 0 3756 3756"/>
                      <a:gd name="T7" fmla="*/ 3756 h 133"/>
                      <a:gd name="T8" fmla="+- 0 4389 4027"/>
                      <a:gd name="T9" fmla="*/ T8 w 363"/>
                      <a:gd name="T10" fmla="+- 0 3756 3756"/>
                      <a:gd name="T11" fmla="*/ 3756 h 133"/>
                      <a:gd name="T12" fmla="+- 0 4389 4027"/>
                      <a:gd name="T13" fmla="*/ T12 w 363"/>
                      <a:gd name="T14" fmla="+- 0 3756 3756"/>
                      <a:gd name="T15" fmla="*/ 3756 h 133"/>
                      <a:gd name="T16" fmla="+- 0 4389 4027"/>
                      <a:gd name="T17" fmla="*/ T16 w 363"/>
                      <a:gd name="T18" fmla="+- 0 3888 3756"/>
                      <a:gd name="T19" fmla="*/ 3888 h 133"/>
                      <a:gd name="T20" fmla="+- 0 4389 4027"/>
                      <a:gd name="T21" fmla="*/ T20 w 363"/>
                      <a:gd name="T22" fmla="+- 0 3888 3756"/>
                      <a:gd name="T23" fmla="*/ 3888 h 133"/>
                      <a:gd name="T24" fmla="+- 0 4389 4027"/>
                      <a:gd name="T25" fmla="*/ T24 w 363"/>
                      <a:gd name="T26" fmla="+- 0 3889 3756"/>
                      <a:gd name="T27" fmla="*/ 3889 h 133"/>
                      <a:gd name="T28" fmla="+- 0 4389 4027"/>
                      <a:gd name="T29" fmla="*/ T28 w 363"/>
                      <a:gd name="T30" fmla="+- 0 3889 3756"/>
                      <a:gd name="T31" fmla="*/ 3889 h 133"/>
                      <a:gd name="T32" fmla="+- 0 4027 4027"/>
                      <a:gd name="T33" fmla="*/ T32 w 363"/>
                      <a:gd name="T34" fmla="+- 0 3889 3756"/>
                      <a:gd name="T35" fmla="*/ 3889 h 133"/>
                      <a:gd name="T36" fmla="+- 0 4027 4027"/>
                      <a:gd name="T37" fmla="*/ T36 w 363"/>
                      <a:gd name="T38" fmla="+- 0 3889 3756"/>
                      <a:gd name="T39" fmla="*/ 3889 h 133"/>
                      <a:gd name="T40" fmla="+- 0 4027 4027"/>
                      <a:gd name="T41" fmla="*/ T40 w 363"/>
                      <a:gd name="T42" fmla="+- 0 3888 3756"/>
                      <a:gd name="T43" fmla="*/ 3888 h 133"/>
                      <a:gd name="T44" fmla="+- 0 4027 4027"/>
                      <a:gd name="T45" fmla="*/ T44 w 363"/>
                      <a:gd name="T46" fmla="+- 0 3888 3756"/>
                      <a:gd name="T47" fmla="*/ 3888 h 133"/>
                      <a:gd name="T48" fmla="+- 0 4027 4027"/>
                      <a:gd name="T49" fmla="*/ T48 w 363"/>
                      <a:gd name="T50" fmla="+- 0 3756 3756"/>
                      <a:gd name="T51" fmla="*/ 3756 h 133"/>
                      <a:gd name="T52" fmla="+- 0 4027 4027"/>
                      <a:gd name="T53" fmla="*/ T52 w 363"/>
                      <a:gd name="T54" fmla="+- 0 3756 3756"/>
                      <a:gd name="T55" fmla="*/ 3756 h 133"/>
                      <a:gd name="T56" fmla="+- 0 4027 4027"/>
                      <a:gd name="T57" fmla="*/ T56 w 363"/>
                      <a:gd name="T58" fmla="+- 0 3756 3756"/>
                      <a:gd name="T59" fmla="*/ 3756 h 133"/>
                      <a:gd name="T60" fmla="+- 0 4027 4027"/>
                      <a:gd name="T61" fmla="*/ T60 w 363"/>
                      <a:gd name="T62" fmla="+- 0 3756 3756"/>
                      <a:gd name="T63" fmla="*/ 3756 h 133"/>
                      <a:gd name="T64" fmla="+- 0 4389 4027"/>
                      <a:gd name="T65" fmla="*/ T64 w 363"/>
                      <a:gd name="T66" fmla="+- 0 3756 3756"/>
                      <a:gd name="T67" fmla="*/ 3756 h 133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</a:cxnLst>
                    <a:rect l="0" t="0" r="r" b="b"/>
                    <a:pathLst>
                      <a:path w="363" h="133">
                        <a:moveTo>
                          <a:pt x="362" y="0"/>
                        </a:moveTo>
                        <a:lnTo>
                          <a:pt x="362" y="0"/>
                        </a:lnTo>
                        <a:lnTo>
                          <a:pt x="362" y="132"/>
                        </a:lnTo>
                        <a:lnTo>
                          <a:pt x="362" y="133"/>
                        </a:lnTo>
                        <a:lnTo>
                          <a:pt x="0" y="133"/>
                        </a:lnTo>
                        <a:lnTo>
                          <a:pt x="0" y="132"/>
                        </a:lnTo>
                        <a:lnTo>
                          <a:pt x="0" y="0"/>
                        </a:lnTo>
                        <a:lnTo>
                          <a:pt x="362" y="0"/>
                        </a:lnTo>
                        <a:close/>
                      </a:path>
                    </a:pathLst>
                  </a:custGeom>
                  <a:noFill/>
                  <a:ln w="4216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05" name="Group 61"/>
                <p:cNvGrpSpPr>
                  <a:grpSpLocks/>
                </p:cNvGrpSpPr>
                <p:nvPr/>
              </p:nvGrpSpPr>
              <p:grpSpPr bwMode="auto">
                <a:xfrm>
                  <a:off x="4061" y="7241"/>
                  <a:ext cx="90" cy="91"/>
                  <a:chOff x="4061" y="3776"/>
                  <a:chExt cx="90" cy="91"/>
                </a:xfrm>
              </p:grpSpPr>
              <p:sp>
                <p:nvSpPr>
                  <p:cNvPr id="545951" name="Freeform 62"/>
                  <p:cNvSpPr>
                    <a:spLocks/>
                  </p:cNvSpPr>
                  <p:nvPr/>
                </p:nvSpPr>
                <p:spPr bwMode="auto">
                  <a:xfrm>
                    <a:off x="4061" y="3776"/>
                    <a:ext cx="90" cy="91"/>
                  </a:xfrm>
                  <a:custGeom>
                    <a:avLst/>
                    <a:gdLst>
                      <a:gd name="T0" fmla="+- 0 4105 4061"/>
                      <a:gd name="T1" fmla="*/ T0 w 90"/>
                      <a:gd name="T2" fmla="+- 0 3776 3776"/>
                      <a:gd name="T3" fmla="*/ 3776 h 91"/>
                      <a:gd name="T4" fmla="+- 0 4089 4061"/>
                      <a:gd name="T5" fmla="*/ T4 w 90"/>
                      <a:gd name="T6" fmla="+- 0 3779 3776"/>
                      <a:gd name="T7" fmla="*/ 3779 h 91"/>
                      <a:gd name="T8" fmla="+- 0 4073 4061"/>
                      <a:gd name="T9" fmla="*/ T8 w 90"/>
                      <a:gd name="T10" fmla="+- 0 3790 3776"/>
                      <a:gd name="T11" fmla="*/ 3790 h 91"/>
                      <a:gd name="T12" fmla="+- 0 4063 4061"/>
                      <a:gd name="T13" fmla="*/ T12 w 90"/>
                      <a:gd name="T14" fmla="+- 0 3809 3776"/>
                      <a:gd name="T15" fmla="*/ 3809 h 91"/>
                      <a:gd name="T16" fmla="+- 0 4061 4061"/>
                      <a:gd name="T17" fmla="*/ T16 w 90"/>
                      <a:gd name="T18" fmla="+- 0 3836 3776"/>
                      <a:gd name="T19" fmla="*/ 3836 h 91"/>
                      <a:gd name="T20" fmla="+- 0 4071 4061"/>
                      <a:gd name="T21" fmla="*/ T20 w 90"/>
                      <a:gd name="T22" fmla="+- 0 3852 3776"/>
                      <a:gd name="T23" fmla="*/ 3852 h 91"/>
                      <a:gd name="T24" fmla="+- 0 4089 4061"/>
                      <a:gd name="T25" fmla="*/ T24 w 90"/>
                      <a:gd name="T26" fmla="+- 0 3864 3776"/>
                      <a:gd name="T27" fmla="*/ 3864 h 91"/>
                      <a:gd name="T28" fmla="+- 0 4115 4061"/>
                      <a:gd name="T29" fmla="*/ T28 w 90"/>
                      <a:gd name="T30" fmla="+- 0 3867 3776"/>
                      <a:gd name="T31" fmla="*/ 3867 h 91"/>
                      <a:gd name="T32" fmla="+- 0 4133 4061"/>
                      <a:gd name="T33" fmla="*/ T32 w 90"/>
                      <a:gd name="T34" fmla="+- 0 3858 3776"/>
                      <a:gd name="T35" fmla="*/ 3858 h 91"/>
                      <a:gd name="T36" fmla="+- 0 4146 4061"/>
                      <a:gd name="T37" fmla="*/ T36 w 90"/>
                      <a:gd name="T38" fmla="+- 0 3840 3776"/>
                      <a:gd name="T39" fmla="*/ 3840 h 91"/>
                      <a:gd name="T40" fmla="+- 0 4150 4061"/>
                      <a:gd name="T41" fmla="*/ T40 w 90"/>
                      <a:gd name="T42" fmla="+- 0 3816 3776"/>
                      <a:gd name="T43" fmla="*/ 3816 h 91"/>
                      <a:gd name="T44" fmla="+- 0 4142 4061"/>
                      <a:gd name="T45" fmla="*/ T44 w 90"/>
                      <a:gd name="T46" fmla="+- 0 3796 3776"/>
                      <a:gd name="T47" fmla="*/ 3796 h 91"/>
                      <a:gd name="T48" fmla="+- 0 4126 4061"/>
                      <a:gd name="T49" fmla="*/ T48 w 90"/>
                      <a:gd name="T50" fmla="+- 0 3781 3776"/>
                      <a:gd name="T51" fmla="*/ 3781 h 91"/>
                      <a:gd name="T52" fmla="+- 0 4105 4061"/>
                      <a:gd name="T53" fmla="*/ T52 w 90"/>
                      <a:gd name="T54" fmla="+- 0 3776 3776"/>
                      <a:gd name="T55" fmla="*/ 3776 h 9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</a:cxnLst>
                    <a:rect l="0" t="0" r="r" b="b"/>
                    <a:pathLst>
                      <a:path w="90" h="91">
                        <a:moveTo>
                          <a:pt x="44" y="0"/>
                        </a:moveTo>
                        <a:lnTo>
                          <a:pt x="28" y="3"/>
                        </a:lnTo>
                        <a:lnTo>
                          <a:pt x="12" y="14"/>
                        </a:lnTo>
                        <a:lnTo>
                          <a:pt x="2" y="33"/>
                        </a:lnTo>
                        <a:lnTo>
                          <a:pt x="0" y="60"/>
                        </a:lnTo>
                        <a:lnTo>
                          <a:pt x="10" y="76"/>
                        </a:lnTo>
                        <a:lnTo>
                          <a:pt x="28" y="88"/>
                        </a:lnTo>
                        <a:lnTo>
                          <a:pt x="54" y="91"/>
                        </a:lnTo>
                        <a:lnTo>
                          <a:pt x="72" y="82"/>
                        </a:lnTo>
                        <a:lnTo>
                          <a:pt x="85" y="64"/>
                        </a:lnTo>
                        <a:lnTo>
                          <a:pt x="89" y="40"/>
                        </a:lnTo>
                        <a:lnTo>
                          <a:pt x="81" y="20"/>
                        </a:lnTo>
                        <a:lnTo>
                          <a:pt x="65" y="5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solidFill>
                    <a:srgbClr val="1C1E1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06" name="Group 63"/>
                <p:cNvGrpSpPr>
                  <a:grpSpLocks/>
                </p:cNvGrpSpPr>
                <p:nvPr/>
              </p:nvGrpSpPr>
              <p:grpSpPr bwMode="auto">
                <a:xfrm>
                  <a:off x="4061" y="7241"/>
                  <a:ext cx="90" cy="91"/>
                  <a:chOff x="4061" y="3776"/>
                  <a:chExt cx="90" cy="91"/>
                </a:xfrm>
              </p:grpSpPr>
              <p:sp>
                <p:nvSpPr>
                  <p:cNvPr id="545950" name="Freeform 64"/>
                  <p:cNvSpPr>
                    <a:spLocks/>
                  </p:cNvSpPr>
                  <p:nvPr/>
                </p:nvSpPr>
                <p:spPr bwMode="auto">
                  <a:xfrm>
                    <a:off x="4061" y="3776"/>
                    <a:ext cx="90" cy="91"/>
                  </a:xfrm>
                  <a:custGeom>
                    <a:avLst/>
                    <a:gdLst>
                      <a:gd name="T0" fmla="+- 0 4105 4061"/>
                      <a:gd name="T1" fmla="*/ T0 w 90"/>
                      <a:gd name="T2" fmla="+- 0 3776 3776"/>
                      <a:gd name="T3" fmla="*/ 3776 h 91"/>
                      <a:gd name="T4" fmla="+- 0 4126 4061"/>
                      <a:gd name="T5" fmla="*/ T4 w 90"/>
                      <a:gd name="T6" fmla="+- 0 3781 3776"/>
                      <a:gd name="T7" fmla="*/ 3781 h 91"/>
                      <a:gd name="T8" fmla="+- 0 4142 4061"/>
                      <a:gd name="T9" fmla="*/ T8 w 90"/>
                      <a:gd name="T10" fmla="+- 0 3796 3776"/>
                      <a:gd name="T11" fmla="*/ 3796 h 91"/>
                      <a:gd name="T12" fmla="+- 0 4150 4061"/>
                      <a:gd name="T13" fmla="*/ T12 w 90"/>
                      <a:gd name="T14" fmla="+- 0 3816 3776"/>
                      <a:gd name="T15" fmla="*/ 3816 h 91"/>
                      <a:gd name="T16" fmla="+- 0 4146 4061"/>
                      <a:gd name="T17" fmla="*/ T16 w 90"/>
                      <a:gd name="T18" fmla="+- 0 3840 3776"/>
                      <a:gd name="T19" fmla="*/ 3840 h 91"/>
                      <a:gd name="T20" fmla="+- 0 4133 4061"/>
                      <a:gd name="T21" fmla="*/ T20 w 90"/>
                      <a:gd name="T22" fmla="+- 0 3858 3776"/>
                      <a:gd name="T23" fmla="*/ 3858 h 91"/>
                      <a:gd name="T24" fmla="+- 0 4115 4061"/>
                      <a:gd name="T25" fmla="*/ T24 w 90"/>
                      <a:gd name="T26" fmla="+- 0 3867 3776"/>
                      <a:gd name="T27" fmla="*/ 3867 h 91"/>
                      <a:gd name="T28" fmla="+- 0 4089 4061"/>
                      <a:gd name="T29" fmla="*/ T28 w 90"/>
                      <a:gd name="T30" fmla="+- 0 3864 3776"/>
                      <a:gd name="T31" fmla="*/ 3864 h 91"/>
                      <a:gd name="T32" fmla="+- 0 4071 4061"/>
                      <a:gd name="T33" fmla="*/ T32 w 90"/>
                      <a:gd name="T34" fmla="+- 0 3852 3776"/>
                      <a:gd name="T35" fmla="*/ 3852 h 91"/>
                      <a:gd name="T36" fmla="+- 0 4061 4061"/>
                      <a:gd name="T37" fmla="*/ T36 w 90"/>
                      <a:gd name="T38" fmla="+- 0 3836 3776"/>
                      <a:gd name="T39" fmla="*/ 3836 h 91"/>
                      <a:gd name="T40" fmla="+- 0 4063 4061"/>
                      <a:gd name="T41" fmla="*/ T40 w 90"/>
                      <a:gd name="T42" fmla="+- 0 3809 3776"/>
                      <a:gd name="T43" fmla="*/ 3809 h 91"/>
                      <a:gd name="T44" fmla="+- 0 4073 4061"/>
                      <a:gd name="T45" fmla="*/ T44 w 90"/>
                      <a:gd name="T46" fmla="+- 0 3790 3776"/>
                      <a:gd name="T47" fmla="*/ 3790 h 91"/>
                      <a:gd name="T48" fmla="+- 0 4089 4061"/>
                      <a:gd name="T49" fmla="*/ T48 w 90"/>
                      <a:gd name="T50" fmla="+- 0 3779 3776"/>
                      <a:gd name="T51" fmla="*/ 3779 h 91"/>
                      <a:gd name="T52" fmla="+- 0 4105 4061"/>
                      <a:gd name="T53" fmla="*/ T52 w 90"/>
                      <a:gd name="T54" fmla="+- 0 3776 3776"/>
                      <a:gd name="T55" fmla="*/ 3776 h 9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</a:cxnLst>
                    <a:rect l="0" t="0" r="r" b="b"/>
                    <a:pathLst>
                      <a:path w="90" h="91">
                        <a:moveTo>
                          <a:pt x="44" y="0"/>
                        </a:moveTo>
                        <a:lnTo>
                          <a:pt x="65" y="5"/>
                        </a:lnTo>
                        <a:lnTo>
                          <a:pt x="81" y="20"/>
                        </a:lnTo>
                        <a:lnTo>
                          <a:pt x="89" y="40"/>
                        </a:lnTo>
                        <a:lnTo>
                          <a:pt x="85" y="64"/>
                        </a:lnTo>
                        <a:lnTo>
                          <a:pt x="72" y="82"/>
                        </a:lnTo>
                        <a:lnTo>
                          <a:pt x="54" y="91"/>
                        </a:lnTo>
                        <a:lnTo>
                          <a:pt x="28" y="88"/>
                        </a:lnTo>
                        <a:lnTo>
                          <a:pt x="10" y="76"/>
                        </a:lnTo>
                        <a:lnTo>
                          <a:pt x="0" y="60"/>
                        </a:lnTo>
                        <a:lnTo>
                          <a:pt x="2" y="33"/>
                        </a:lnTo>
                        <a:lnTo>
                          <a:pt x="12" y="14"/>
                        </a:lnTo>
                        <a:lnTo>
                          <a:pt x="28" y="3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noFill/>
                  <a:ln w="5474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857" name="Picture 65"/>
                  <p:cNvPicPr>
                    <a:picLocks noChangeAspect="1" noChangeArrowheads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91" y="3810"/>
                    <a:ext cx="27" cy="25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545858" name="Picture 66"/>
                  <p:cNvPicPr>
                    <a:picLocks noChangeAspect="1" noChangeArrowheads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204" y="3785"/>
                    <a:ext cx="124" cy="7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545807" name="Group 67"/>
                <p:cNvGrpSpPr>
                  <a:grpSpLocks/>
                </p:cNvGrpSpPr>
                <p:nvPr/>
              </p:nvGrpSpPr>
              <p:grpSpPr bwMode="auto">
                <a:xfrm>
                  <a:off x="4204" y="7250"/>
                  <a:ext cx="125" cy="78"/>
                  <a:chOff x="4204" y="3785"/>
                  <a:chExt cx="125" cy="78"/>
                </a:xfrm>
              </p:grpSpPr>
              <p:sp>
                <p:nvSpPr>
                  <p:cNvPr id="545949" name="Freeform 68"/>
                  <p:cNvSpPr>
                    <a:spLocks/>
                  </p:cNvSpPr>
                  <p:nvPr/>
                </p:nvSpPr>
                <p:spPr bwMode="auto">
                  <a:xfrm>
                    <a:off x="4204" y="3785"/>
                    <a:ext cx="125" cy="78"/>
                  </a:xfrm>
                  <a:custGeom>
                    <a:avLst/>
                    <a:gdLst>
                      <a:gd name="T0" fmla="+- 0 4328 4204"/>
                      <a:gd name="T1" fmla="*/ T0 w 125"/>
                      <a:gd name="T2" fmla="+- 0 3785 3785"/>
                      <a:gd name="T3" fmla="*/ 3785 h 78"/>
                      <a:gd name="T4" fmla="+- 0 4328 4204"/>
                      <a:gd name="T5" fmla="*/ T4 w 125"/>
                      <a:gd name="T6" fmla="+- 0 3785 3785"/>
                      <a:gd name="T7" fmla="*/ 3785 h 78"/>
                      <a:gd name="T8" fmla="+- 0 4329 4204"/>
                      <a:gd name="T9" fmla="*/ T8 w 125"/>
                      <a:gd name="T10" fmla="+- 0 3785 3785"/>
                      <a:gd name="T11" fmla="*/ 3785 h 78"/>
                      <a:gd name="T12" fmla="+- 0 4329 4204"/>
                      <a:gd name="T13" fmla="*/ T12 w 125"/>
                      <a:gd name="T14" fmla="+- 0 3786 3785"/>
                      <a:gd name="T15" fmla="*/ 3786 h 78"/>
                      <a:gd name="T16" fmla="+- 0 4329 4204"/>
                      <a:gd name="T17" fmla="*/ T16 w 125"/>
                      <a:gd name="T18" fmla="+- 0 3863 3785"/>
                      <a:gd name="T19" fmla="*/ 3863 h 78"/>
                      <a:gd name="T20" fmla="+- 0 4329 4204"/>
                      <a:gd name="T21" fmla="*/ T20 w 125"/>
                      <a:gd name="T22" fmla="+- 0 3863 3785"/>
                      <a:gd name="T23" fmla="*/ 3863 h 78"/>
                      <a:gd name="T24" fmla="+- 0 4328 4204"/>
                      <a:gd name="T25" fmla="*/ T24 w 125"/>
                      <a:gd name="T26" fmla="+- 0 3863 3785"/>
                      <a:gd name="T27" fmla="*/ 3863 h 78"/>
                      <a:gd name="T28" fmla="+- 0 4328 4204"/>
                      <a:gd name="T29" fmla="*/ T28 w 125"/>
                      <a:gd name="T30" fmla="+- 0 3863 3785"/>
                      <a:gd name="T31" fmla="*/ 3863 h 78"/>
                      <a:gd name="T32" fmla="+- 0 4204 4204"/>
                      <a:gd name="T33" fmla="*/ T32 w 125"/>
                      <a:gd name="T34" fmla="+- 0 3863 3785"/>
                      <a:gd name="T35" fmla="*/ 3863 h 78"/>
                      <a:gd name="T36" fmla="+- 0 4204 4204"/>
                      <a:gd name="T37" fmla="*/ T36 w 125"/>
                      <a:gd name="T38" fmla="+- 0 3863 3785"/>
                      <a:gd name="T39" fmla="*/ 3863 h 78"/>
                      <a:gd name="T40" fmla="+- 0 4204 4204"/>
                      <a:gd name="T41" fmla="*/ T40 w 125"/>
                      <a:gd name="T42" fmla="+- 0 3863 3785"/>
                      <a:gd name="T43" fmla="*/ 3863 h 78"/>
                      <a:gd name="T44" fmla="+- 0 4204 4204"/>
                      <a:gd name="T45" fmla="*/ T44 w 125"/>
                      <a:gd name="T46" fmla="+- 0 3863 3785"/>
                      <a:gd name="T47" fmla="*/ 3863 h 78"/>
                      <a:gd name="T48" fmla="+- 0 4204 4204"/>
                      <a:gd name="T49" fmla="*/ T48 w 125"/>
                      <a:gd name="T50" fmla="+- 0 3786 3785"/>
                      <a:gd name="T51" fmla="*/ 3786 h 78"/>
                      <a:gd name="T52" fmla="+- 0 4204 4204"/>
                      <a:gd name="T53" fmla="*/ T52 w 125"/>
                      <a:gd name="T54" fmla="+- 0 3785 3785"/>
                      <a:gd name="T55" fmla="*/ 3785 h 78"/>
                      <a:gd name="T56" fmla="+- 0 4204 4204"/>
                      <a:gd name="T57" fmla="*/ T56 w 125"/>
                      <a:gd name="T58" fmla="+- 0 3785 3785"/>
                      <a:gd name="T59" fmla="*/ 3785 h 78"/>
                      <a:gd name="T60" fmla="+- 0 4204 4204"/>
                      <a:gd name="T61" fmla="*/ T60 w 125"/>
                      <a:gd name="T62" fmla="+- 0 3785 3785"/>
                      <a:gd name="T63" fmla="*/ 3785 h 78"/>
                      <a:gd name="T64" fmla="+- 0 4328 4204"/>
                      <a:gd name="T65" fmla="*/ T64 w 125"/>
                      <a:gd name="T66" fmla="+- 0 3785 3785"/>
                      <a:gd name="T67" fmla="*/ 3785 h 78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</a:cxnLst>
                    <a:rect l="0" t="0" r="r" b="b"/>
                    <a:pathLst>
                      <a:path w="125" h="78">
                        <a:moveTo>
                          <a:pt x="124" y="0"/>
                        </a:moveTo>
                        <a:lnTo>
                          <a:pt x="124" y="0"/>
                        </a:lnTo>
                        <a:lnTo>
                          <a:pt x="125" y="0"/>
                        </a:lnTo>
                        <a:lnTo>
                          <a:pt x="125" y="1"/>
                        </a:lnTo>
                        <a:lnTo>
                          <a:pt x="125" y="78"/>
                        </a:lnTo>
                        <a:lnTo>
                          <a:pt x="124" y="78"/>
                        </a:lnTo>
                        <a:lnTo>
                          <a:pt x="0" y="78"/>
                        </a:lnTo>
                        <a:lnTo>
                          <a:pt x="0" y="1"/>
                        </a:lnTo>
                        <a:lnTo>
                          <a:pt x="0" y="0"/>
                        </a:lnTo>
                        <a:lnTo>
                          <a:pt x="124" y="0"/>
                        </a:lnTo>
                        <a:close/>
                      </a:path>
                    </a:pathLst>
                  </a:custGeom>
                  <a:noFill/>
                  <a:ln w="1054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08" name="Group 69"/>
                <p:cNvGrpSpPr>
                  <a:grpSpLocks/>
                </p:cNvGrpSpPr>
                <p:nvPr/>
              </p:nvGrpSpPr>
              <p:grpSpPr bwMode="auto">
                <a:xfrm>
                  <a:off x="4208" y="7257"/>
                  <a:ext cx="114" cy="67"/>
                  <a:chOff x="4208" y="3792"/>
                  <a:chExt cx="114" cy="67"/>
                </a:xfrm>
              </p:grpSpPr>
              <p:sp>
                <p:nvSpPr>
                  <p:cNvPr id="545948" name="Freeform 70"/>
                  <p:cNvSpPr>
                    <a:spLocks/>
                  </p:cNvSpPr>
                  <p:nvPr/>
                </p:nvSpPr>
                <p:spPr bwMode="auto">
                  <a:xfrm>
                    <a:off x="4208" y="3792"/>
                    <a:ext cx="114" cy="67"/>
                  </a:xfrm>
                  <a:custGeom>
                    <a:avLst/>
                    <a:gdLst>
                      <a:gd name="T0" fmla="+- 0 4322 4208"/>
                      <a:gd name="T1" fmla="*/ T0 w 114"/>
                      <a:gd name="T2" fmla="+- 0 3792 3792"/>
                      <a:gd name="T3" fmla="*/ 3792 h 67"/>
                      <a:gd name="T4" fmla="+- 0 4208 4208"/>
                      <a:gd name="T5" fmla="*/ T4 w 114"/>
                      <a:gd name="T6" fmla="+- 0 3792 3792"/>
                      <a:gd name="T7" fmla="*/ 3792 h 67"/>
                      <a:gd name="T8" fmla="+- 0 4208 4208"/>
                      <a:gd name="T9" fmla="*/ T8 w 114"/>
                      <a:gd name="T10" fmla="+- 0 3792 3792"/>
                      <a:gd name="T11" fmla="*/ 3792 h 67"/>
                      <a:gd name="T12" fmla="+- 0 4208 4208"/>
                      <a:gd name="T13" fmla="*/ T12 w 114"/>
                      <a:gd name="T14" fmla="+- 0 3858 3792"/>
                      <a:gd name="T15" fmla="*/ 3858 h 67"/>
                      <a:gd name="T16" fmla="+- 0 4208 4208"/>
                      <a:gd name="T17" fmla="*/ T16 w 114"/>
                      <a:gd name="T18" fmla="+- 0 3858 3792"/>
                      <a:gd name="T19" fmla="*/ 3858 h 67"/>
                      <a:gd name="T20" fmla="+- 0 4322 4208"/>
                      <a:gd name="T21" fmla="*/ T20 w 114"/>
                      <a:gd name="T22" fmla="+- 0 3858 3792"/>
                      <a:gd name="T23" fmla="*/ 3858 h 67"/>
                      <a:gd name="T24" fmla="+- 0 4322 4208"/>
                      <a:gd name="T25" fmla="*/ T24 w 114"/>
                      <a:gd name="T26" fmla="+- 0 3858 3792"/>
                      <a:gd name="T27" fmla="*/ 3858 h 67"/>
                      <a:gd name="T28" fmla="+- 0 4322 4208"/>
                      <a:gd name="T29" fmla="*/ T28 w 114"/>
                      <a:gd name="T30" fmla="+- 0 3792 3792"/>
                      <a:gd name="T31" fmla="*/ 3792 h 67"/>
                      <a:gd name="T32" fmla="+- 0 4322 4208"/>
                      <a:gd name="T33" fmla="*/ T32 w 114"/>
                      <a:gd name="T34" fmla="+- 0 3792 3792"/>
                      <a:gd name="T35" fmla="*/ 3792 h 6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114" h="67">
                        <a:moveTo>
                          <a:pt x="114" y="0"/>
                        </a:moveTo>
                        <a:lnTo>
                          <a:pt x="0" y="0"/>
                        </a:lnTo>
                        <a:lnTo>
                          <a:pt x="0" y="66"/>
                        </a:lnTo>
                        <a:lnTo>
                          <a:pt x="114" y="66"/>
                        </a:lnTo>
                        <a:lnTo>
                          <a:pt x="114" y="0"/>
                        </a:lnTo>
                        <a:close/>
                      </a:path>
                    </a:pathLst>
                  </a:custGeom>
                  <a:solidFill>
                    <a:srgbClr val="1C1E1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863" name="Picture 71"/>
                  <p:cNvPicPr>
                    <a:picLocks noChangeAspect="1" noChangeArrowheads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65" y="3366"/>
                    <a:ext cx="133" cy="13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545809" name="Group 72"/>
                <p:cNvGrpSpPr>
                  <a:grpSpLocks/>
                </p:cNvGrpSpPr>
                <p:nvPr/>
              </p:nvGrpSpPr>
              <p:grpSpPr bwMode="auto">
                <a:xfrm>
                  <a:off x="4078" y="6844"/>
                  <a:ext cx="104" cy="106"/>
                  <a:chOff x="4078" y="3379"/>
                  <a:chExt cx="104" cy="106"/>
                </a:xfrm>
              </p:grpSpPr>
              <p:sp>
                <p:nvSpPr>
                  <p:cNvPr id="545947" name="Freeform 73"/>
                  <p:cNvSpPr>
                    <a:spLocks/>
                  </p:cNvSpPr>
                  <p:nvPr/>
                </p:nvSpPr>
                <p:spPr bwMode="auto">
                  <a:xfrm>
                    <a:off x="4078" y="3379"/>
                    <a:ext cx="104" cy="106"/>
                  </a:xfrm>
                  <a:custGeom>
                    <a:avLst/>
                    <a:gdLst>
                      <a:gd name="T0" fmla="+- 0 4131 4078"/>
                      <a:gd name="T1" fmla="*/ T0 w 104"/>
                      <a:gd name="T2" fmla="+- 0 3379 3379"/>
                      <a:gd name="T3" fmla="*/ 3379 h 106"/>
                      <a:gd name="T4" fmla="+- 0 4111 4078"/>
                      <a:gd name="T5" fmla="*/ T4 w 104"/>
                      <a:gd name="T6" fmla="+- 0 3383 3379"/>
                      <a:gd name="T7" fmla="*/ 3383 h 106"/>
                      <a:gd name="T8" fmla="+- 0 4093 4078"/>
                      <a:gd name="T9" fmla="*/ T8 w 104"/>
                      <a:gd name="T10" fmla="+- 0 3395 3379"/>
                      <a:gd name="T11" fmla="*/ 3395 h 106"/>
                      <a:gd name="T12" fmla="+- 0 4082 4078"/>
                      <a:gd name="T13" fmla="*/ T12 w 104"/>
                      <a:gd name="T14" fmla="+- 0 3413 3379"/>
                      <a:gd name="T15" fmla="*/ 3413 h 106"/>
                      <a:gd name="T16" fmla="+- 0 4078 4078"/>
                      <a:gd name="T17" fmla="*/ T16 w 104"/>
                      <a:gd name="T18" fmla="+- 0 3437 3379"/>
                      <a:gd name="T19" fmla="*/ 3437 h 106"/>
                      <a:gd name="T20" fmla="+- 0 4083 4078"/>
                      <a:gd name="T21" fmla="*/ T20 w 104"/>
                      <a:gd name="T22" fmla="+- 0 3456 3379"/>
                      <a:gd name="T23" fmla="*/ 3456 h 106"/>
                      <a:gd name="T24" fmla="+- 0 4096 4078"/>
                      <a:gd name="T25" fmla="*/ T24 w 104"/>
                      <a:gd name="T26" fmla="+- 0 3472 3379"/>
                      <a:gd name="T27" fmla="*/ 3472 h 106"/>
                      <a:gd name="T28" fmla="+- 0 4116 4078"/>
                      <a:gd name="T29" fmla="*/ T28 w 104"/>
                      <a:gd name="T30" fmla="+- 0 3482 3379"/>
                      <a:gd name="T31" fmla="*/ 3482 h 106"/>
                      <a:gd name="T32" fmla="+- 0 4142 4078"/>
                      <a:gd name="T33" fmla="*/ T32 w 104"/>
                      <a:gd name="T34" fmla="+- 0 3485 3379"/>
                      <a:gd name="T35" fmla="*/ 3485 h 106"/>
                      <a:gd name="T36" fmla="+- 0 4159 4078"/>
                      <a:gd name="T37" fmla="*/ T36 w 104"/>
                      <a:gd name="T38" fmla="+- 0 3478 3379"/>
                      <a:gd name="T39" fmla="*/ 3478 h 106"/>
                      <a:gd name="T40" fmla="+- 0 4172 4078"/>
                      <a:gd name="T41" fmla="*/ T40 w 104"/>
                      <a:gd name="T42" fmla="+- 0 3464 3379"/>
                      <a:gd name="T43" fmla="*/ 3464 h 106"/>
                      <a:gd name="T44" fmla="+- 0 4180 4078"/>
                      <a:gd name="T45" fmla="*/ T44 w 104"/>
                      <a:gd name="T46" fmla="+- 0 3443 3379"/>
                      <a:gd name="T47" fmla="*/ 3443 h 106"/>
                      <a:gd name="T48" fmla="+- 0 4182 4078"/>
                      <a:gd name="T49" fmla="*/ T48 w 104"/>
                      <a:gd name="T50" fmla="+- 0 3415 3379"/>
                      <a:gd name="T51" fmla="*/ 3415 h 106"/>
                      <a:gd name="T52" fmla="+- 0 4171 4078"/>
                      <a:gd name="T53" fmla="*/ T52 w 104"/>
                      <a:gd name="T54" fmla="+- 0 3396 3379"/>
                      <a:gd name="T55" fmla="*/ 3396 h 106"/>
                      <a:gd name="T56" fmla="+- 0 4153 4078"/>
                      <a:gd name="T57" fmla="*/ T56 w 104"/>
                      <a:gd name="T58" fmla="+- 0 3384 3379"/>
                      <a:gd name="T59" fmla="*/ 3384 h 106"/>
                      <a:gd name="T60" fmla="+- 0 4131 4078"/>
                      <a:gd name="T61" fmla="*/ T60 w 104"/>
                      <a:gd name="T62" fmla="+- 0 3379 3379"/>
                      <a:gd name="T63" fmla="*/ 3379 h 10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</a:cxnLst>
                    <a:rect l="0" t="0" r="r" b="b"/>
                    <a:pathLst>
                      <a:path w="104" h="106">
                        <a:moveTo>
                          <a:pt x="53" y="0"/>
                        </a:moveTo>
                        <a:lnTo>
                          <a:pt x="33" y="4"/>
                        </a:lnTo>
                        <a:lnTo>
                          <a:pt x="15" y="16"/>
                        </a:lnTo>
                        <a:lnTo>
                          <a:pt x="4" y="34"/>
                        </a:lnTo>
                        <a:lnTo>
                          <a:pt x="0" y="58"/>
                        </a:lnTo>
                        <a:lnTo>
                          <a:pt x="5" y="77"/>
                        </a:lnTo>
                        <a:lnTo>
                          <a:pt x="18" y="93"/>
                        </a:lnTo>
                        <a:lnTo>
                          <a:pt x="38" y="103"/>
                        </a:lnTo>
                        <a:lnTo>
                          <a:pt x="64" y="106"/>
                        </a:lnTo>
                        <a:lnTo>
                          <a:pt x="81" y="99"/>
                        </a:lnTo>
                        <a:lnTo>
                          <a:pt x="94" y="85"/>
                        </a:lnTo>
                        <a:lnTo>
                          <a:pt x="102" y="64"/>
                        </a:lnTo>
                        <a:lnTo>
                          <a:pt x="104" y="36"/>
                        </a:lnTo>
                        <a:lnTo>
                          <a:pt x="93" y="17"/>
                        </a:lnTo>
                        <a:lnTo>
                          <a:pt x="75" y="5"/>
                        </a:lnTo>
                        <a:lnTo>
                          <a:pt x="53" y="0"/>
                        </a:lnTo>
                        <a:close/>
                      </a:path>
                    </a:pathLst>
                  </a:custGeom>
                  <a:solidFill>
                    <a:srgbClr val="EBD9A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0" name="Group 74"/>
                <p:cNvGrpSpPr>
                  <a:grpSpLocks/>
                </p:cNvGrpSpPr>
                <p:nvPr/>
              </p:nvGrpSpPr>
              <p:grpSpPr bwMode="auto">
                <a:xfrm>
                  <a:off x="4078" y="6844"/>
                  <a:ext cx="104" cy="106"/>
                  <a:chOff x="4078" y="3379"/>
                  <a:chExt cx="104" cy="106"/>
                </a:xfrm>
              </p:grpSpPr>
              <p:sp>
                <p:nvSpPr>
                  <p:cNvPr id="545946" name="Freeform 75"/>
                  <p:cNvSpPr>
                    <a:spLocks/>
                  </p:cNvSpPr>
                  <p:nvPr/>
                </p:nvSpPr>
                <p:spPr bwMode="auto">
                  <a:xfrm>
                    <a:off x="4078" y="3379"/>
                    <a:ext cx="104" cy="106"/>
                  </a:xfrm>
                  <a:custGeom>
                    <a:avLst/>
                    <a:gdLst>
                      <a:gd name="T0" fmla="+- 0 4131 4078"/>
                      <a:gd name="T1" fmla="*/ T0 w 104"/>
                      <a:gd name="T2" fmla="+- 0 3379 3379"/>
                      <a:gd name="T3" fmla="*/ 3379 h 106"/>
                      <a:gd name="T4" fmla="+- 0 4153 4078"/>
                      <a:gd name="T5" fmla="*/ T4 w 104"/>
                      <a:gd name="T6" fmla="+- 0 3384 3379"/>
                      <a:gd name="T7" fmla="*/ 3384 h 106"/>
                      <a:gd name="T8" fmla="+- 0 4171 4078"/>
                      <a:gd name="T9" fmla="*/ T8 w 104"/>
                      <a:gd name="T10" fmla="+- 0 3396 3379"/>
                      <a:gd name="T11" fmla="*/ 3396 h 106"/>
                      <a:gd name="T12" fmla="+- 0 4182 4078"/>
                      <a:gd name="T13" fmla="*/ T12 w 104"/>
                      <a:gd name="T14" fmla="+- 0 3415 3379"/>
                      <a:gd name="T15" fmla="*/ 3415 h 106"/>
                      <a:gd name="T16" fmla="+- 0 4180 4078"/>
                      <a:gd name="T17" fmla="*/ T16 w 104"/>
                      <a:gd name="T18" fmla="+- 0 3443 3379"/>
                      <a:gd name="T19" fmla="*/ 3443 h 106"/>
                      <a:gd name="T20" fmla="+- 0 4172 4078"/>
                      <a:gd name="T21" fmla="*/ T20 w 104"/>
                      <a:gd name="T22" fmla="+- 0 3464 3379"/>
                      <a:gd name="T23" fmla="*/ 3464 h 106"/>
                      <a:gd name="T24" fmla="+- 0 4159 4078"/>
                      <a:gd name="T25" fmla="*/ T24 w 104"/>
                      <a:gd name="T26" fmla="+- 0 3478 3379"/>
                      <a:gd name="T27" fmla="*/ 3478 h 106"/>
                      <a:gd name="T28" fmla="+- 0 4142 4078"/>
                      <a:gd name="T29" fmla="*/ T28 w 104"/>
                      <a:gd name="T30" fmla="+- 0 3485 3379"/>
                      <a:gd name="T31" fmla="*/ 3485 h 106"/>
                      <a:gd name="T32" fmla="+- 0 4116 4078"/>
                      <a:gd name="T33" fmla="*/ T32 w 104"/>
                      <a:gd name="T34" fmla="+- 0 3482 3379"/>
                      <a:gd name="T35" fmla="*/ 3482 h 106"/>
                      <a:gd name="T36" fmla="+- 0 4096 4078"/>
                      <a:gd name="T37" fmla="*/ T36 w 104"/>
                      <a:gd name="T38" fmla="+- 0 3472 3379"/>
                      <a:gd name="T39" fmla="*/ 3472 h 106"/>
                      <a:gd name="T40" fmla="+- 0 4083 4078"/>
                      <a:gd name="T41" fmla="*/ T40 w 104"/>
                      <a:gd name="T42" fmla="+- 0 3456 3379"/>
                      <a:gd name="T43" fmla="*/ 3456 h 106"/>
                      <a:gd name="T44" fmla="+- 0 4078 4078"/>
                      <a:gd name="T45" fmla="*/ T44 w 104"/>
                      <a:gd name="T46" fmla="+- 0 3437 3379"/>
                      <a:gd name="T47" fmla="*/ 3437 h 106"/>
                      <a:gd name="T48" fmla="+- 0 4082 4078"/>
                      <a:gd name="T49" fmla="*/ T48 w 104"/>
                      <a:gd name="T50" fmla="+- 0 3413 3379"/>
                      <a:gd name="T51" fmla="*/ 3413 h 106"/>
                      <a:gd name="T52" fmla="+- 0 4093 4078"/>
                      <a:gd name="T53" fmla="*/ T52 w 104"/>
                      <a:gd name="T54" fmla="+- 0 3395 3379"/>
                      <a:gd name="T55" fmla="*/ 3395 h 106"/>
                      <a:gd name="T56" fmla="+- 0 4111 4078"/>
                      <a:gd name="T57" fmla="*/ T56 w 104"/>
                      <a:gd name="T58" fmla="+- 0 3383 3379"/>
                      <a:gd name="T59" fmla="*/ 3383 h 106"/>
                      <a:gd name="T60" fmla="+- 0 4131 4078"/>
                      <a:gd name="T61" fmla="*/ T60 w 104"/>
                      <a:gd name="T62" fmla="+- 0 3379 3379"/>
                      <a:gd name="T63" fmla="*/ 3379 h 10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</a:cxnLst>
                    <a:rect l="0" t="0" r="r" b="b"/>
                    <a:pathLst>
                      <a:path w="104" h="106">
                        <a:moveTo>
                          <a:pt x="53" y="0"/>
                        </a:moveTo>
                        <a:lnTo>
                          <a:pt x="75" y="5"/>
                        </a:lnTo>
                        <a:lnTo>
                          <a:pt x="93" y="17"/>
                        </a:lnTo>
                        <a:lnTo>
                          <a:pt x="104" y="36"/>
                        </a:lnTo>
                        <a:lnTo>
                          <a:pt x="102" y="64"/>
                        </a:lnTo>
                        <a:lnTo>
                          <a:pt x="94" y="85"/>
                        </a:lnTo>
                        <a:lnTo>
                          <a:pt x="81" y="99"/>
                        </a:lnTo>
                        <a:lnTo>
                          <a:pt x="64" y="106"/>
                        </a:lnTo>
                        <a:lnTo>
                          <a:pt x="38" y="103"/>
                        </a:lnTo>
                        <a:lnTo>
                          <a:pt x="18" y="93"/>
                        </a:lnTo>
                        <a:lnTo>
                          <a:pt x="5" y="77"/>
                        </a:lnTo>
                        <a:lnTo>
                          <a:pt x="0" y="58"/>
                        </a:lnTo>
                        <a:lnTo>
                          <a:pt x="4" y="34"/>
                        </a:lnTo>
                        <a:lnTo>
                          <a:pt x="15" y="16"/>
                        </a:lnTo>
                        <a:lnTo>
                          <a:pt x="33" y="4"/>
                        </a:lnTo>
                        <a:lnTo>
                          <a:pt x="53" y="0"/>
                        </a:lnTo>
                        <a:close/>
                      </a:path>
                    </a:pathLst>
                  </a:custGeom>
                  <a:noFill/>
                  <a:ln w="394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1" name="Group 76"/>
                <p:cNvGrpSpPr>
                  <a:grpSpLocks/>
                </p:cNvGrpSpPr>
                <p:nvPr/>
              </p:nvGrpSpPr>
              <p:grpSpPr bwMode="auto">
                <a:xfrm>
                  <a:off x="4123" y="6890"/>
                  <a:ext cx="15" cy="15"/>
                  <a:chOff x="4123" y="3425"/>
                  <a:chExt cx="15" cy="15"/>
                </a:xfrm>
              </p:grpSpPr>
              <p:sp>
                <p:nvSpPr>
                  <p:cNvPr id="545945" name="Freeform 77"/>
                  <p:cNvSpPr>
                    <a:spLocks/>
                  </p:cNvSpPr>
                  <p:nvPr/>
                </p:nvSpPr>
                <p:spPr bwMode="auto">
                  <a:xfrm>
                    <a:off x="4123" y="3425"/>
                    <a:ext cx="15" cy="15"/>
                  </a:xfrm>
                  <a:custGeom>
                    <a:avLst/>
                    <a:gdLst>
                      <a:gd name="T0" fmla="+- 0 4135 4123"/>
                      <a:gd name="T1" fmla="*/ T0 w 15"/>
                      <a:gd name="T2" fmla="+- 0 3425 3425"/>
                      <a:gd name="T3" fmla="*/ 3425 h 15"/>
                      <a:gd name="T4" fmla="+- 0 4127 4123"/>
                      <a:gd name="T5" fmla="*/ T4 w 15"/>
                      <a:gd name="T6" fmla="+- 0 3425 3425"/>
                      <a:gd name="T7" fmla="*/ 3425 h 15"/>
                      <a:gd name="T8" fmla="+- 0 4123 4123"/>
                      <a:gd name="T9" fmla="*/ T8 w 15"/>
                      <a:gd name="T10" fmla="+- 0 3428 3425"/>
                      <a:gd name="T11" fmla="*/ 3428 h 15"/>
                      <a:gd name="T12" fmla="+- 0 4123 4123"/>
                      <a:gd name="T13" fmla="*/ T12 w 15"/>
                      <a:gd name="T14" fmla="+- 0 3437 3425"/>
                      <a:gd name="T15" fmla="*/ 3437 h 15"/>
                      <a:gd name="T16" fmla="+- 0 4127 4123"/>
                      <a:gd name="T17" fmla="*/ T16 w 15"/>
                      <a:gd name="T18" fmla="+- 0 3440 3425"/>
                      <a:gd name="T19" fmla="*/ 3440 h 15"/>
                      <a:gd name="T20" fmla="+- 0 4135 4123"/>
                      <a:gd name="T21" fmla="*/ T20 w 15"/>
                      <a:gd name="T22" fmla="+- 0 3440 3425"/>
                      <a:gd name="T23" fmla="*/ 3440 h 15"/>
                      <a:gd name="T24" fmla="+- 0 4139 4123"/>
                      <a:gd name="T25" fmla="*/ T24 w 15"/>
                      <a:gd name="T26" fmla="+- 0 3437 3425"/>
                      <a:gd name="T27" fmla="*/ 3437 h 15"/>
                      <a:gd name="T28" fmla="+- 0 4139 4123"/>
                      <a:gd name="T29" fmla="*/ T28 w 15"/>
                      <a:gd name="T30" fmla="+- 0 3428 3425"/>
                      <a:gd name="T31" fmla="*/ 3428 h 15"/>
                      <a:gd name="T32" fmla="+- 0 4135 4123"/>
                      <a:gd name="T33" fmla="*/ T32 w 15"/>
                      <a:gd name="T34" fmla="+- 0 3425 3425"/>
                      <a:gd name="T35" fmla="*/ 3425 h 15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15" h="15">
                        <a:moveTo>
                          <a:pt x="12" y="0"/>
                        </a:moveTo>
                        <a:lnTo>
                          <a:pt x="4" y="0"/>
                        </a:lnTo>
                        <a:lnTo>
                          <a:pt x="0" y="3"/>
                        </a:lnTo>
                        <a:lnTo>
                          <a:pt x="0" y="12"/>
                        </a:lnTo>
                        <a:lnTo>
                          <a:pt x="4" y="15"/>
                        </a:lnTo>
                        <a:lnTo>
                          <a:pt x="12" y="15"/>
                        </a:lnTo>
                        <a:lnTo>
                          <a:pt x="16" y="12"/>
                        </a:lnTo>
                        <a:lnTo>
                          <a:pt x="16" y="3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1C1E1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2" name="Group 78"/>
                <p:cNvGrpSpPr>
                  <a:grpSpLocks/>
                </p:cNvGrpSpPr>
                <p:nvPr/>
              </p:nvGrpSpPr>
              <p:grpSpPr bwMode="auto">
                <a:xfrm>
                  <a:off x="4040" y="4351"/>
                  <a:ext cx="185" cy="211"/>
                  <a:chOff x="4040" y="886"/>
                  <a:chExt cx="185" cy="211"/>
                </a:xfrm>
              </p:grpSpPr>
              <p:sp>
                <p:nvSpPr>
                  <p:cNvPr id="545944" name="Freeform 79"/>
                  <p:cNvSpPr>
                    <a:spLocks/>
                  </p:cNvSpPr>
                  <p:nvPr/>
                </p:nvSpPr>
                <p:spPr bwMode="auto">
                  <a:xfrm>
                    <a:off x="4040" y="886"/>
                    <a:ext cx="185" cy="211"/>
                  </a:xfrm>
                  <a:custGeom>
                    <a:avLst/>
                    <a:gdLst>
                      <a:gd name="T0" fmla="+- 0 4223 4040"/>
                      <a:gd name="T1" fmla="*/ T0 w 185"/>
                      <a:gd name="T2" fmla="+- 0 886 886"/>
                      <a:gd name="T3" fmla="*/ 886 h 211"/>
                      <a:gd name="T4" fmla="+- 0 4042 4040"/>
                      <a:gd name="T5" fmla="*/ T4 w 185"/>
                      <a:gd name="T6" fmla="+- 0 886 886"/>
                      <a:gd name="T7" fmla="*/ 886 h 211"/>
                      <a:gd name="T8" fmla="+- 0 4040 4040"/>
                      <a:gd name="T9" fmla="*/ T8 w 185"/>
                      <a:gd name="T10" fmla="+- 0 888 886"/>
                      <a:gd name="T11" fmla="*/ 888 h 211"/>
                      <a:gd name="T12" fmla="+- 0 4040 4040"/>
                      <a:gd name="T13" fmla="*/ T12 w 185"/>
                      <a:gd name="T14" fmla="+- 0 1095 886"/>
                      <a:gd name="T15" fmla="*/ 1095 h 211"/>
                      <a:gd name="T16" fmla="+- 0 4042 4040"/>
                      <a:gd name="T17" fmla="*/ T16 w 185"/>
                      <a:gd name="T18" fmla="+- 0 1097 886"/>
                      <a:gd name="T19" fmla="*/ 1097 h 211"/>
                      <a:gd name="T20" fmla="+- 0 4223 4040"/>
                      <a:gd name="T21" fmla="*/ T20 w 185"/>
                      <a:gd name="T22" fmla="+- 0 1097 886"/>
                      <a:gd name="T23" fmla="*/ 1097 h 211"/>
                      <a:gd name="T24" fmla="+- 0 4225 4040"/>
                      <a:gd name="T25" fmla="*/ T24 w 185"/>
                      <a:gd name="T26" fmla="+- 0 1095 886"/>
                      <a:gd name="T27" fmla="*/ 1095 h 211"/>
                      <a:gd name="T28" fmla="+- 0 4225 4040"/>
                      <a:gd name="T29" fmla="*/ T28 w 185"/>
                      <a:gd name="T30" fmla="+- 0 888 886"/>
                      <a:gd name="T31" fmla="*/ 888 h 211"/>
                      <a:gd name="T32" fmla="+- 0 4223 4040"/>
                      <a:gd name="T33" fmla="*/ T32 w 185"/>
                      <a:gd name="T34" fmla="+- 0 886 886"/>
                      <a:gd name="T35" fmla="*/ 886 h 21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185" h="211">
                        <a:moveTo>
                          <a:pt x="183" y="0"/>
                        </a:moveTo>
                        <a:lnTo>
                          <a:pt x="2" y="0"/>
                        </a:lnTo>
                        <a:lnTo>
                          <a:pt x="0" y="2"/>
                        </a:lnTo>
                        <a:lnTo>
                          <a:pt x="0" y="209"/>
                        </a:lnTo>
                        <a:lnTo>
                          <a:pt x="2" y="211"/>
                        </a:lnTo>
                        <a:lnTo>
                          <a:pt x="183" y="211"/>
                        </a:lnTo>
                        <a:lnTo>
                          <a:pt x="185" y="209"/>
                        </a:lnTo>
                        <a:lnTo>
                          <a:pt x="185" y="2"/>
                        </a:lnTo>
                        <a:lnTo>
                          <a:pt x="183" y="0"/>
                        </a:lnTo>
                        <a:close/>
                      </a:path>
                    </a:pathLst>
                  </a:custGeom>
                  <a:solidFill>
                    <a:srgbClr val="C6C6C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3" name="Group 80"/>
                <p:cNvGrpSpPr>
                  <a:grpSpLocks/>
                </p:cNvGrpSpPr>
                <p:nvPr/>
              </p:nvGrpSpPr>
              <p:grpSpPr bwMode="auto">
                <a:xfrm>
                  <a:off x="4040" y="4351"/>
                  <a:ext cx="185" cy="211"/>
                  <a:chOff x="4040" y="886"/>
                  <a:chExt cx="185" cy="211"/>
                </a:xfrm>
              </p:grpSpPr>
              <p:sp>
                <p:nvSpPr>
                  <p:cNvPr id="545943" name="Freeform 81"/>
                  <p:cNvSpPr>
                    <a:spLocks/>
                  </p:cNvSpPr>
                  <p:nvPr/>
                </p:nvSpPr>
                <p:spPr bwMode="auto">
                  <a:xfrm>
                    <a:off x="4040" y="886"/>
                    <a:ext cx="185" cy="211"/>
                  </a:xfrm>
                  <a:custGeom>
                    <a:avLst/>
                    <a:gdLst>
                      <a:gd name="T0" fmla="+- 0 4225 4040"/>
                      <a:gd name="T1" fmla="*/ T0 w 185"/>
                      <a:gd name="T2" fmla="+- 0 1092 886"/>
                      <a:gd name="T3" fmla="*/ 1092 h 211"/>
                      <a:gd name="T4" fmla="+- 0 4225 4040"/>
                      <a:gd name="T5" fmla="*/ T4 w 185"/>
                      <a:gd name="T6" fmla="+- 0 1095 886"/>
                      <a:gd name="T7" fmla="*/ 1095 h 211"/>
                      <a:gd name="T8" fmla="+- 0 4223 4040"/>
                      <a:gd name="T9" fmla="*/ T8 w 185"/>
                      <a:gd name="T10" fmla="+- 0 1097 886"/>
                      <a:gd name="T11" fmla="*/ 1097 h 211"/>
                      <a:gd name="T12" fmla="+- 0 4220 4040"/>
                      <a:gd name="T13" fmla="*/ T12 w 185"/>
                      <a:gd name="T14" fmla="+- 0 1097 886"/>
                      <a:gd name="T15" fmla="*/ 1097 h 211"/>
                      <a:gd name="T16" fmla="+- 0 4045 4040"/>
                      <a:gd name="T17" fmla="*/ T16 w 185"/>
                      <a:gd name="T18" fmla="+- 0 1097 886"/>
                      <a:gd name="T19" fmla="*/ 1097 h 211"/>
                      <a:gd name="T20" fmla="+- 0 4042 4040"/>
                      <a:gd name="T21" fmla="*/ T20 w 185"/>
                      <a:gd name="T22" fmla="+- 0 1097 886"/>
                      <a:gd name="T23" fmla="*/ 1097 h 211"/>
                      <a:gd name="T24" fmla="+- 0 4040 4040"/>
                      <a:gd name="T25" fmla="*/ T24 w 185"/>
                      <a:gd name="T26" fmla="+- 0 1095 886"/>
                      <a:gd name="T27" fmla="*/ 1095 h 211"/>
                      <a:gd name="T28" fmla="+- 0 4040 4040"/>
                      <a:gd name="T29" fmla="*/ T28 w 185"/>
                      <a:gd name="T30" fmla="+- 0 1092 886"/>
                      <a:gd name="T31" fmla="*/ 1092 h 211"/>
                      <a:gd name="T32" fmla="+- 0 4040 4040"/>
                      <a:gd name="T33" fmla="*/ T32 w 185"/>
                      <a:gd name="T34" fmla="+- 0 891 886"/>
                      <a:gd name="T35" fmla="*/ 891 h 211"/>
                      <a:gd name="T36" fmla="+- 0 4040 4040"/>
                      <a:gd name="T37" fmla="*/ T36 w 185"/>
                      <a:gd name="T38" fmla="+- 0 888 886"/>
                      <a:gd name="T39" fmla="*/ 888 h 211"/>
                      <a:gd name="T40" fmla="+- 0 4042 4040"/>
                      <a:gd name="T41" fmla="*/ T40 w 185"/>
                      <a:gd name="T42" fmla="+- 0 886 886"/>
                      <a:gd name="T43" fmla="*/ 886 h 211"/>
                      <a:gd name="T44" fmla="+- 0 4045 4040"/>
                      <a:gd name="T45" fmla="*/ T44 w 185"/>
                      <a:gd name="T46" fmla="+- 0 886 886"/>
                      <a:gd name="T47" fmla="*/ 886 h 211"/>
                      <a:gd name="T48" fmla="+- 0 4220 4040"/>
                      <a:gd name="T49" fmla="*/ T48 w 185"/>
                      <a:gd name="T50" fmla="+- 0 886 886"/>
                      <a:gd name="T51" fmla="*/ 886 h 211"/>
                      <a:gd name="T52" fmla="+- 0 4223 4040"/>
                      <a:gd name="T53" fmla="*/ T52 w 185"/>
                      <a:gd name="T54" fmla="+- 0 886 886"/>
                      <a:gd name="T55" fmla="*/ 886 h 211"/>
                      <a:gd name="T56" fmla="+- 0 4225 4040"/>
                      <a:gd name="T57" fmla="*/ T56 w 185"/>
                      <a:gd name="T58" fmla="+- 0 888 886"/>
                      <a:gd name="T59" fmla="*/ 888 h 211"/>
                      <a:gd name="T60" fmla="+- 0 4225 4040"/>
                      <a:gd name="T61" fmla="*/ T60 w 185"/>
                      <a:gd name="T62" fmla="+- 0 891 886"/>
                      <a:gd name="T63" fmla="*/ 891 h 211"/>
                      <a:gd name="T64" fmla="+- 0 4225 4040"/>
                      <a:gd name="T65" fmla="*/ T64 w 185"/>
                      <a:gd name="T66" fmla="+- 0 1092 886"/>
                      <a:gd name="T67" fmla="*/ 1092 h 21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</a:cxnLst>
                    <a:rect l="0" t="0" r="r" b="b"/>
                    <a:pathLst>
                      <a:path w="185" h="211">
                        <a:moveTo>
                          <a:pt x="185" y="206"/>
                        </a:moveTo>
                        <a:lnTo>
                          <a:pt x="185" y="209"/>
                        </a:lnTo>
                        <a:lnTo>
                          <a:pt x="183" y="211"/>
                        </a:lnTo>
                        <a:lnTo>
                          <a:pt x="180" y="211"/>
                        </a:lnTo>
                        <a:lnTo>
                          <a:pt x="5" y="211"/>
                        </a:lnTo>
                        <a:lnTo>
                          <a:pt x="2" y="211"/>
                        </a:lnTo>
                        <a:lnTo>
                          <a:pt x="0" y="209"/>
                        </a:lnTo>
                        <a:lnTo>
                          <a:pt x="0" y="206"/>
                        </a:lnTo>
                        <a:lnTo>
                          <a:pt x="0" y="5"/>
                        </a:lnTo>
                        <a:lnTo>
                          <a:pt x="0" y="2"/>
                        </a:lnTo>
                        <a:lnTo>
                          <a:pt x="2" y="0"/>
                        </a:lnTo>
                        <a:lnTo>
                          <a:pt x="5" y="0"/>
                        </a:lnTo>
                        <a:lnTo>
                          <a:pt x="180" y="0"/>
                        </a:lnTo>
                        <a:lnTo>
                          <a:pt x="183" y="0"/>
                        </a:lnTo>
                        <a:lnTo>
                          <a:pt x="185" y="2"/>
                        </a:lnTo>
                        <a:lnTo>
                          <a:pt x="185" y="5"/>
                        </a:lnTo>
                        <a:lnTo>
                          <a:pt x="185" y="206"/>
                        </a:lnTo>
                        <a:close/>
                      </a:path>
                    </a:pathLst>
                  </a:custGeom>
                  <a:noFill/>
                  <a:ln w="2108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4" name="Group 82"/>
                <p:cNvGrpSpPr>
                  <a:grpSpLocks/>
                </p:cNvGrpSpPr>
                <p:nvPr/>
              </p:nvGrpSpPr>
              <p:grpSpPr bwMode="auto">
                <a:xfrm>
                  <a:off x="4049" y="4379"/>
                  <a:ext cx="167" cy="156"/>
                  <a:chOff x="4049" y="914"/>
                  <a:chExt cx="167" cy="156"/>
                </a:xfrm>
              </p:grpSpPr>
              <p:sp>
                <p:nvSpPr>
                  <p:cNvPr id="545942" name="Freeform 83"/>
                  <p:cNvSpPr>
                    <a:spLocks/>
                  </p:cNvSpPr>
                  <p:nvPr/>
                </p:nvSpPr>
                <p:spPr bwMode="auto">
                  <a:xfrm>
                    <a:off x="4049" y="914"/>
                    <a:ext cx="167" cy="156"/>
                  </a:xfrm>
                  <a:custGeom>
                    <a:avLst/>
                    <a:gdLst>
                      <a:gd name="T0" fmla="+- 0 4177 4049"/>
                      <a:gd name="T1" fmla="*/ T0 w 167"/>
                      <a:gd name="T2" fmla="+- 0 914 914"/>
                      <a:gd name="T3" fmla="*/ 914 h 156"/>
                      <a:gd name="T4" fmla="+- 0 4071 4049"/>
                      <a:gd name="T5" fmla="*/ T4 w 167"/>
                      <a:gd name="T6" fmla="+- 0 914 914"/>
                      <a:gd name="T7" fmla="*/ 914 h 156"/>
                      <a:gd name="T8" fmla="+- 0 4071 4049"/>
                      <a:gd name="T9" fmla="*/ T8 w 167"/>
                      <a:gd name="T10" fmla="+- 0 940 914"/>
                      <a:gd name="T11" fmla="*/ 940 h 156"/>
                      <a:gd name="T12" fmla="+- 0 4049 4049"/>
                      <a:gd name="T13" fmla="*/ T12 w 167"/>
                      <a:gd name="T14" fmla="+- 0 940 914"/>
                      <a:gd name="T15" fmla="*/ 940 h 156"/>
                      <a:gd name="T16" fmla="+- 0 4049 4049"/>
                      <a:gd name="T17" fmla="*/ T16 w 167"/>
                      <a:gd name="T18" fmla="+- 0 1043 914"/>
                      <a:gd name="T19" fmla="*/ 1043 h 156"/>
                      <a:gd name="T20" fmla="+- 0 4071 4049"/>
                      <a:gd name="T21" fmla="*/ T20 w 167"/>
                      <a:gd name="T22" fmla="+- 0 1043 914"/>
                      <a:gd name="T23" fmla="*/ 1043 h 156"/>
                      <a:gd name="T24" fmla="+- 0 4071 4049"/>
                      <a:gd name="T25" fmla="*/ T24 w 167"/>
                      <a:gd name="T26" fmla="+- 0 1070 914"/>
                      <a:gd name="T27" fmla="*/ 1070 h 156"/>
                      <a:gd name="T28" fmla="+- 0 4177 4049"/>
                      <a:gd name="T29" fmla="*/ T28 w 167"/>
                      <a:gd name="T30" fmla="+- 0 1070 914"/>
                      <a:gd name="T31" fmla="*/ 1070 h 156"/>
                      <a:gd name="T32" fmla="+- 0 4177 4049"/>
                      <a:gd name="T33" fmla="*/ T32 w 167"/>
                      <a:gd name="T34" fmla="+- 0 1040 914"/>
                      <a:gd name="T35" fmla="*/ 1040 h 156"/>
                      <a:gd name="T36" fmla="+- 0 4216 4049"/>
                      <a:gd name="T37" fmla="*/ T36 w 167"/>
                      <a:gd name="T38" fmla="+- 0 1040 914"/>
                      <a:gd name="T39" fmla="*/ 1040 h 156"/>
                      <a:gd name="T40" fmla="+- 0 4216 4049"/>
                      <a:gd name="T41" fmla="*/ T40 w 167"/>
                      <a:gd name="T42" fmla="+- 0 943 914"/>
                      <a:gd name="T43" fmla="*/ 943 h 156"/>
                      <a:gd name="T44" fmla="+- 0 4177 4049"/>
                      <a:gd name="T45" fmla="*/ T44 w 167"/>
                      <a:gd name="T46" fmla="+- 0 943 914"/>
                      <a:gd name="T47" fmla="*/ 943 h 156"/>
                      <a:gd name="T48" fmla="+- 0 4177 4049"/>
                      <a:gd name="T49" fmla="*/ T48 w 167"/>
                      <a:gd name="T50" fmla="+- 0 914 914"/>
                      <a:gd name="T51" fmla="*/ 914 h 15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</a:cxnLst>
                    <a:rect l="0" t="0" r="r" b="b"/>
                    <a:pathLst>
                      <a:path w="167" h="156">
                        <a:moveTo>
                          <a:pt x="128" y="0"/>
                        </a:moveTo>
                        <a:lnTo>
                          <a:pt x="22" y="0"/>
                        </a:lnTo>
                        <a:lnTo>
                          <a:pt x="22" y="26"/>
                        </a:lnTo>
                        <a:lnTo>
                          <a:pt x="0" y="26"/>
                        </a:lnTo>
                        <a:lnTo>
                          <a:pt x="0" y="129"/>
                        </a:lnTo>
                        <a:lnTo>
                          <a:pt x="22" y="129"/>
                        </a:lnTo>
                        <a:lnTo>
                          <a:pt x="22" y="156"/>
                        </a:lnTo>
                        <a:lnTo>
                          <a:pt x="128" y="156"/>
                        </a:lnTo>
                        <a:lnTo>
                          <a:pt x="128" y="126"/>
                        </a:lnTo>
                        <a:lnTo>
                          <a:pt x="167" y="126"/>
                        </a:lnTo>
                        <a:lnTo>
                          <a:pt x="167" y="29"/>
                        </a:lnTo>
                        <a:lnTo>
                          <a:pt x="128" y="29"/>
                        </a:lnTo>
                        <a:lnTo>
                          <a:pt x="128" y="0"/>
                        </a:lnTo>
                        <a:close/>
                      </a:path>
                    </a:pathLst>
                  </a:custGeom>
                  <a:solidFill>
                    <a:srgbClr val="221F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5" name="Group 84"/>
                <p:cNvGrpSpPr>
                  <a:grpSpLocks/>
                </p:cNvGrpSpPr>
                <p:nvPr/>
              </p:nvGrpSpPr>
              <p:grpSpPr bwMode="auto">
                <a:xfrm>
                  <a:off x="4061" y="4424"/>
                  <a:ext cx="12" cy="2"/>
                  <a:chOff x="4061" y="959"/>
                  <a:chExt cx="12" cy="2"/>
                </a:xfrm>
              </p:grpSpPr>
              <p:sp>
                <p:nvSpPr>
                  <p:cNvPr id="545941" name="Freeform 85"/>
                  <p:cNvSpPr>
                    <a:spLocks/>
                  </p:cNvSpPr>
                  <p:nvPr/>
                </p:nvSpPr>
                <p:spPr bwMode="auto">
                  <a:xfrm>
                    <a:off x="4061" y="959"/>
                    <a:ext cx="12" cy="2"/>
                  </a:xfrm>
                  <a:custGeom>
                    <a:avLst/>
                    <a:gdLst>
                      <a:gd name="T0" fmla="+- 0 4061 4061"/>
                      <a:gd name="T1" fmla="*/ T0 w 12"/>
                      <a:gd name="T2" fmla="+- 0 4072 4061"/>
                      <a:gd name="T3" fmla="*/ T2 w 12"/>
                    </a:gdLst>
                    <a:ahLst/>
                    <a:cxnLst>
                      <a:cxn ang="0">
                        <a:pos x="T1" y="0"/>
                      </a:cxn>
                      <a:cxn ang="0">
                        <a:pos x="T3" y="0"/>
                      </a:cxn>
                    </a:cxnLst>
                    <a:rect l="0" t="0" r="r" b="b"/>
                    <a:pathLst>
                      <a:path w="12">
                        <a:moveTo>
                          <a:pt x="0" y="0"/>
                        </a:moveTo>
                        <a:lnTo>
                          <a:pt x="11" y="0"/>
                        </a:lnTo>
                      </a:path>
                    </a:pathLst>
                  </a:custGeom>
                  <a:noFill/>
                  <a:ln w="16396">
                    <a:solidFill>
                      <a:srgbClr val="83768A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6" name="Group 86"/>
                <p:cNvGrpSpPr>
                  <a:grpSpLocks/>
                </p:cNvGrpSpPr>
                <p:nvPr/>
              </p:nvGrpSpPr>
              <p:grpSpPr bwMode="auto">
                <a:xfrm>
                  <a:off x="4061" y="4456"/>
                  <a:ext cx="12" cy="2"/>
                  <a:chOff x="4061" y="991"/>
                  <a:chExt cx="12" cy="2"/>
                </a:xfrm>
              </p:grpSpPr>
              <p:sp>
                <p:nvSpPr>
                  <p:cNvPr id="545940" name="Freeform 87"/>
                  <p:cNvSpPr>
                    <a:spLocks/>
                  </p:cNvSpPr>
                  <p:nvPr/>
                </p:nvSpPr>
                <p:spPr bwMode="auto">
                  <a:xfrm>
                    <a:off x="4061" y="991"/>
                    <a:ext cx="12" cy="2"/>
                  </a:xfrm>
                  <a:custGeom>
                    <a:avLst/>
                    <a:gdLst>
                      <a:gd name="T0" fmla="+- 0 4061 4061"/>
                      <a:gd name="T1" fmla="*/ T0 w 12"/>
                      <a:gd name="T2" fmla="+- 0 4072 4061"/>
                      <a:gd name="T3" fmla="*/ T2 w 12"/>
                    </a:gdLst>
                    <a:ahLst/>
                    <a:cxnLst>
                      <a:cxn ang="0">
                        <a:pos x="T1" y="0"/>
                      </a:cxn>
                      <a:cxn ang="0">
                        <a:pos x="T3" y="0"/>
                      </a:cxn>
                    </a:cxnLst>
                    <a:rect l="0" t="0" r="r" b="b"/>
                    <a:pathLst>
                      <a:path w="12">
                        <a:moveTo>
                          <a:pt x="0" y="0"/>
                        </a:moveTo>
                        <a:lnTo>
                          <a:pt x="11" y="0"/>
                        </a:lnTo>
                      </a:path>
                    </a:pathLst>
                  </a:custGeom>
                  <a:noFill/>
                  <a:ln w="16459">
                    <a:solidFill>
                      <a:srgbClr val="83768A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7" name="Group 88"/>
                <p:cNvGrpSpPr>
                  <a:grpSpLocks/>
                </p:cNvGrpSpPr>
                <p:nvPr/>
              </p:nvGrpSpPr>
              <p:grpSpPr bwMode="auto">
                <a:xfrm>
                  <a:off x="4061" y="4489"/>
                  <a:ext cx="12" cy="2"/>
                  <a:chOff x="4061" y="1024"/>
                  <a:chExt cx="12" cy="2"/>
                </a:xfrm>
              </p:grpSpPr>
              <p:sp>
                <p:nvSpPr>
                  <p:cNvPr id="545938" name="Freeform 89"/>
                  <p:cNvSpPr>
                    <a:spLocks/>
                  </p:cNvSpPr>
                  <p:nvPr/>
                </p:nvSpPr>
                <p:spPr bwMode="auto">
                  <a:xfrm>
                    <a:off x="4061" y="1024"/>
                    <a:ext cx="12" cy="2"/>
                  </a:xfrm>
                  <a:custGeom>
                    <a:avLst/>
                    <a:gdLst>
                      <a:gd name="T0" fmla="+- 0 4061 4061"/>
                      <a:gd name="T1" fmla="*/ T0 w 12"/>
                      <a:gd name="T2" fmla="+- 0 4072 4061"/>
                      <a:gd name="T3" fmla="*/ T2 w 12"/>
                    </a:gdLst>
                    <a:ahLst/>
                    <a:cxnLst>
                      <a:cxn ang="0">
                        <a:pos x="T1" y="0"/>
                      </a:cxn>
                      <a:cxn ang="0">
                        <a:pos x="T3" y="0"/>
                      </a:cxn>
                    </a:cxnLst>
                    <a:rect l="0" t="0" r="r" b="b"/>
                    <a:pathLst>
                      <a:path w="12">
                        <a:moveTo>
                          <a:pt x="0" y="0"/>
                        </a:moveTo>
                        <a:lnTo>
                          <a:pt x="11" y="0"/>
                        </a:lnTo>
                      </a:path>
                    </a:pathLst>
                  </a:custGeom>
                  <a:noFill/>
                  <a:ln w="16548">
                    <a:solidFill>
                      <a:srgbClr val="83768A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8" name="Group 90"/>
                <p:cNvGrpSpPr>
                  <a:grpSpLocks/>
                </p:cNvGrpSpPr>
                <p:nvPr/>
              </p:nvGrpSpPr>
              <p:grpSpPr bwMode="auto">
                <a:xfrm>
                  <a:off x="4056" y="6500"/>
                  <a:ext cx="59" cy="59"/>
                  <a:chOff x="4056" y="3035"/>
                  <a:chExt cx="59" cy="59"/>
                </a:xfrm>
              </p:grpSpPr>
              <p:sp>
                <p:nvSpPr>
                  <p:cNvPr id="545937" name="Freeform 91"/>
                  <p:cNvSpPr>
                    <a:spLocks/>
                  </p:cNvSpPr>
                  <p:nvPr/>
                </p:nvSpPr>
                <p:spPr bwMode="auto">
                  <a:xfrm>
                    <a:off x="4056" y="3035"/>
                    <a:ext cx="59" cy="59"/>
                  </a:xfrm>
                  <a:custGeom>
                    <a:avLst/>
                    <a:gdLst>
                      <a:gd name="T0" fmla="+- 0 4079 4056"/>
                      <a:gd name="T1" fmla="*/ T0 w 59"/>
                      <a:gd name="T2" fmla="+- 0 3035 3035"/>
                      <a:gd name="T3" fmla="*/ 3035 h 59"/>
                      <a:gd name="T4" fmla="+- 0 4062 4056"/>
                      <a:gd name="T5" fmla="*/ T4 w 59"/>
                      <a:gd name="T6" fmla="+- 0 3046 3035"/>
                      <a:gd name="T7" fmla="*/ 3046 h 59"/>
                      <a:gd name="T8" fmla="+- 0 4056 4056"/>
                      <a:gd name="T9" fmla="*/ T8 w 59"/>
                      <a:gd name="T10" fmla="+- 0 3069 3035"/>
                      <a:gd name="T11" fmla="*/ 3069 h 59"/>
                      <a:gd name="T12" fmla="+- 0 4066 4056"/>
                      <a:gd name="T13" fmla="*/ T12 w 59"/>
                      <a:gd name="T14" fmla="+- 0 3087 3035"/>
                      <a:gd name="T15" fmla="*/ 3087 h 59"/>
                      <a:gd name="T16" fmla="+- 0 4088 4056"/>
                      <a:gd name="T17" fmla="*/ T16 w 59"/>
                      <a:gd name="T18" fmla="+- 0 3094 3035"/>
                      <a:gd name="T19" fmla="*/ 3094 h 59"/>
                      <a:gd name="T20" fmla="+- 0 4107 4056"/>
                      <a:gd name="T21" fmla="*/ T20 w 59"/>
                      <a:gd name="T22" fmla="+- 0 3084 3035"/>
                      <a:gd name="T23" fmla="*/ 3084 h 59"/>
                      <a:gd name="T24" fmla="+- 0 4115 4056"/>
                      <a:gd name="T25" fmla="*/ T24 w 59"/>
                      <a:gd name="T26" fmla="+- 0 3064 3035"/>
                      <a:gd name="T27" fmla="*/ 3064 h 59"/>
                      <a:gd name="T28" fmla="+- 0 4114 4056"/>
                      <a:gd name="T29" fmla="*/ T28 w 59"/>
                      <a:gd name="T30" fmla="+- 0 3057 3035"/>
                      <a:gd name="T31" fmla="*/ 3057 h 59"/>
                      <a:gd name="T32" fmla="+- 0 4103 4056"/>
                      <a:gd name="T33" fmla="*/ T32 w 59"/>
                      <a:gd name="T34" fmla="+- 0 3041 3035"/>
                      <a:gd name="T35" fmla="*/ 3041 h 59"/>
                      <a:gd name="T36" fmla="+- 0 4079 4056"/>
                      <a:gd name="T37" fmla="*/ T36 w 59"/>
                      <a:gd name="T38" fmla="+- 0 3035 3035"/>
                      <a:gd name="T39" fmla="*/ 3035 h 59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</a:cxnLst>
                    <a:rect l="0" t="0" r="r" b="b"/>
                    <a:pathLst>
                      <a:path w="59" h="59">
                        <a:moveTo>
                          <a:pt x="23" y="0"/>
                        </a:moveTo>
                        <a:lnTo>
                          <a:pt x="6" y="11"/>
                        </a:lnTo>
                        <a:lnTo>
                          <a:pt x="0" y="34"/>
                        </a:lnTo>
                        <a:lnTo>
                          <a:pt x="10" y="52"/>
                        </a:lnTo>
                        <a:lnTo>
                          <a:pt x="32" y="59"/>
                        </a:lnTo>
                        <a:lnTo>
                          <a:pt x="51" y="49"/>
                        </a:lnTo>
                        <a:lnTo>
                          <a:pt x="59" y="29"/>
                        </a:lnTo>
                        <a:lnTo>
                          <a:pt x="58" y="22"/>
                        </a:lnTo>
                        <a:lnTo>
                          <a:pt x="47" y="6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221F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19" name="Group 92"/>
                <p:cNvGrpSpPr>
                  <a:grpSpLocks/>
                </p:cNvGrpSpPr>
                <p:nvPr/>
              </p:nvGrpSpPr>
              <p:grpSpPr bwMode="auto">
                <a:xfrm>
                  <a:off x="3920" y="4424"/>
                  <a:ext cx="64" cy="60"/>
                  <a:chOff x="3920" y="959"/>
                  <a:chExt cx="64" cy="60"/>
                </a:xfrm>
              </p:grpSpPr>
              <p:sp>
                <p:nvSpPr>
                  <p:cNvPr id="545935" name="Freeform 93"/>
                  <p:cNvSpPr>
                    <a:spLocks/>
                  </p:cNvSpPr>
                  <p:nvPr/>
                </p:nvSpPr>
                <p:spPr bwMode="auto">
                  <a:xfrm>
                    <a:off x="3920" y="959"/>
                    <a:ext cx="64" cy="60"/>
                  </a:xfrm>
                  <a:custGeom>
                    <a:avLst/>
                    <a:gdLst>
                      <a:gd name="T0" fmla="+- 0 3973 3920"/>
                      <a:gd name="T1" fmla="*/ T0 w 64"/>
                      <a:gd name="T2" fmla="+- 0 959 959"/>
                      <a:gd name="T3" fmla="*/ 959 h 60"/>
                      <a:gd name="T4" fmla="+- 0 3924 3920"/>
                      <a:gd name="T5" fmla="*/ T4 w 64"/>
                      <a:gd name="T6" fmla="+- 0 1001 959"/>
                      <a:gd name="T7" fmla="*/ 1001 h 60"/>
                      <a:gd name="T8" fmla="+- 0 3920 3920"/>
                      <a:gd name="T9" fmla="*/ T8 w 64"/>
                      <a:gd name="T10" fmla="+- 0 1006 959"/>
                      <a:gd name="T11" fmla="*/ 1006 h 60"/>
                      <a:gd name="T12" fmla="+- 0 3921 3920"/>
                      <a:gd name="T13" fmla="*/ T12 w 64"/>
                      <a:gd name="T14" fmla="+- 0 1012 959"/>
                      <a:gd name="T15" fmla="*/ 1012 h 60"/>
                      <a:gd name="T16" fmla="+- 0 3924 3920"/>
                      <a:gd name="T17" fmla="*/ T16 w 64"/>
                      <a:gd name="T18" fmla="+- 0 1017 959"/>
                      <a:gd name="T19" fmla="*/ 1017 h 60"/>
                      <a:gd name="T20" fmla="+- 0 3927 3920"/>
                      <a:gd name="T21" fmla="*/ T20 w 64"/>
                      <a:gd name="T22" fmla="+- 0 1019 959"/>
                      <a:gd name="T23" fmla="*/ 1019 h 60"/>
                      <a:gd name="T24" fmla="+- 0 3935 3920"/>
                      <a:gd name="T25" fmla="*/ T24 w 64"/>
                      <a:gd name="T26" fmla="+- 0 1018 959"/>
                      <a:gd name="T27" fmla="*/ 1018 h 60"/>
                      <a:gd name="T28" fmla="+- 0 3940 3920"/>
                      <a:gd name="T29" fmla="*/ T28 w 64"/>
                      <a:gd name="T30" fmla="+- 0 1012 959"/>
                      <a:gd name="T31" fmla="*/ 1012 h 60"/>
                      <a:gd name="T32" fmla="+- 0 3942 3920"/>
                      <a:gd name="T33" fmla="*/ T32 w 64"/>
                      <a:gd name="T34" fmla="+- 0 1006 959"/>
                      <a:gd name="T35" fmla="*/ 1006 h 60"/>
                      <a:gd name="T36" fmla="+- 0 3942 3920"/>
                      <a:gd name="T37" fmla="*/ T36 w 64"/>
                      <a:gd name="T38" fmla="+- 0 1005 959"/>
                      <a:gd name="T39" fmla="*/ 1005 h 60"/>
                      <a:gd name="T40" fmla="+- 0 3942 3920"/>
                      <a:gd name="T41" fmla="*/ T40 w 64"/>
                      <a:gd name="T42" fmla="+- 0 1000 959"/>
                      <a:gd name="T43" fmla="*/ 1000 h 60"/>
                      <a:gd name="T44" fmla="+- 0 3945 3920"/>
                      <a:gd name="T45" fmla="*/ T44 w 64"/>
                      <a:gd name="T46" fmla="+- 0 997 959"/>
                      <a:gd name="T47" fmla="*/ 997 h 60"/>
                      <a:gd name="T48" fmla="+- 0 3949 3920"/>
                      <a:gd name="T49" fmla="*/ T48 w 64"/>
                      <a:gd name="T50" fmla="+- 0 993 959"/>
                      <a:gd name="T51" fmla="*/ 993 h 60"/>
                      <a:gd name="T52" fmla="+- 0 3950 3920"/>
                      <a:gd name="T53" fmla="*/ T52 w 64"/>
                      <a:gd name="T54" fmla="+- 0 993 959"/>
                      <a:gd name="T55" fmla="*/ 993 h 60"/>
                      <a:gd name="T56" fmla="+- 0 3951 3920"/>
                      <a:gd name="T57" fmla="*/ T56 w 64"/>
                      <a:gd name="T58" fmla="+- 0 991 959"/>
                      <a:gd name="T59" fmla="*/ 991 h 60"/>
                      <a:gd name="T60" fmla="+- 0 3954 3920"/>
                      <a:gd name="T61" fmla="*/ T60 w 64"/>
                      <a:gd name="T62" fmla="+- 0 989 959"/>
                      <a:gd name="T63" fmla="*/ 989 h 60"/>
                      <a:gd name="T64" fmla="+- 0 3964 3920"/>
                      <a:gd name="T65" fmla="*/ T64 w 64"/>
                      <a:gd name="T66" fmla="+- 0 980 959"/>
                      <a:gd name="T67" fmla="*/ 980 h 60"/>
                      <a:gd name="T68" fmla="+- 0 3974 3920"/>
                      <a:gd name="T69" fmla="*/ T68 w 64"/>
                      <a:gd name="T70" fmla="+- 0 980 959"/>
                      <a:gd name="T71" fmla="*/ 980 h 60"/>
                      <a:gd name="T72" fmla="+- 0 3976 3920"/>
                      <a:gd name="T73" fmla="*/ T72 w 64"/>
                      <a:gd name="T74" fmla="+- 0 980 959"/>
                      <a:gd name="T75" fmla="*/ 980 h 60"/>
                      <a:gd name="T76" fmla="+- 0 3982 3920"/>
                      <a:gd name="T77" fmla="*/ T76 w 64"/>
                      <a:gd name="T78" fmla="+- 0 975 959"/>
                      <a:gd name="T79" fmla="*/ 975 h 60"/>
                      <a:gd name="T80" fmla="+- 0 3985 3920"/>
                      <a:gd name="T81" fmla="*/ T80 w 64"/>
                      <a:gd name="T82" fmla="+- 0 968 959"/>
                      <a:gd name="T83" fmla="*/ 968 h 60"/>
                      <a:gd name="T84" fmla="+- 0 3983 3920"/>
                      <a:gd name="T85" fmla="*/ T84 w 64"/>
                      <a:gd name="T86" fmla="+- 0 964 959"/>
                      <a:gd name="T87" fmla="*/ 964 h 60"/>
                      <a:gd name="T88" fmla="+- 0 3979 3920"/>
                      <a:gd name="T89" fmla="*/ T88 w 64"/>
                      <a:gd name="T90" fmla="+- 0 961 959"/>
                      <a:gd name="T91" fmla="*/ 961 h 60"/>
                      <a:gd name="T92" fmla="+- 0 3973 3920"/>
                      <a:gd name="T93" fmla="*/ T92 w 64"/>
                      <a:gd name="T94" fmla="+- 0 959 959"/>
                      <a:gd name="T95" fmla="*/ 959 h 60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  <a:cxn ang="0">
                        <a:pos x="T69" y="T71"/>
                      </a:cxn>
                      <a:cxn ang="0">
                        <a:pos x="T73" y="T75"/>
                      </a:cxn>
                      <a:cxn ang="0">
                        <a:pos x="T77" y="T79"/>
                      </a:cxn>
                      <a:cxn ang="0">
                        <a:pos x="T81" y="T83"/>
                      </a:cxn>
                      <a:cxn ang="0">
                        <a:pos x="T85" y="T87"/>
                      </a:cxn>
                      <a:cxn ang="0">
                        <a:pos x="T89" y="T91"/>
                      </a:cxn>
                      <a:cxn ang="0">
                        <a:pos x="T93" y="T95"/>
                      </a:cxn>
                    </a:cxnLst>
                    <a:rect l="0" t="0" r="r" b="b"/>
                    <a:pathLst>
                      <a:path w="64" h="60">
                        <a:moveTo>
                          <a:pt x="53" y="0"/>
                        </a:moveTo>
                        <a:lnTo>
                          <a:pt x="4" y="42"/>
                        </a:lnTo>
                        <a:lnTo>
                          <a:pt x="0" y="47"/>
                        </a:lnTo>
                        <a:lnTo>
                          <a:pt x="1" y="53"/>
                        </a:lnTo>
                        <a:lnTo>
                          <a:pt x="4" y="58"/>
                        </a:lnTo>
                        <a:lnTo>
                          <a:pt x="7" y="60"/>
                        </a:lnTo>
                        <a:lnTo>
                          <a:pt x="15" y="59"/>
                        </a:lnTo>
                        <a:lnTo>
                          <a:pt x="20" y="53"/>
                        </a:lnTo>
                        <a:lnTo>
                          <a:pt x="22" y="47"/>
                        </a:lnTo>
                        <a:lnTo>
                          <a:pt x="22" y="46"/>
                        </a:lnTo>
                        <a:lnTo>
                          <a:pt x="22" y="41"/>
                        </a:lnTo>
                        <a:lnTo>
                          <a:pt x="25" y="38"/>
                        </a:lnTo>
                        <a:lnTo>
                          <a:pt x="29" y="34"/>
                        </a:lnTo>
                        <a:lnTo>
                          <a:pt x="30" y="34"/>
                        </a:lnTo>
                        <a:lnTo>
                          <a:pt x="31" y="32"/>
                        </a:lnTo>
                        <a:lnTo>
                          <a:pt x="34" y="30"/>
                        </a:lnTo>
                        <a:lnTo>
                          <a:pt x="44" y="21"/>
                        </a:lnTo>
                        <a:lnTo>
                          <a:pt x="54" y="21"/>
                        </a:lnTo>
                        <a:lnTo>
                          <a:pt x="56" y="21"/>
                        </a:lnTo>
                        <a:lnTo>
                          <a:pt x="62" y="16"/>
                        </a:lnTo>
                        <a:lnTo>
                          <a:pt x="65" y="9"/>
                        </a:lnTo>
                        <a:lnTo>
                          <a:pt x="63" y="5"/>
                        </a:lnTo>
                        <a:lnTo>
                          <a:pt x="59" y="2"/>
                        </a:lnTo>
                        <a:lnTo>
                          <a:pt x="53" y="0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65000"/>
                      <a:lumOff val="3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36" name="Freeform 94"/>
                  <p:cNvSpPr>
                    <a:spLocks/>
                  </p:cNvSpPr>
                  <p:nvPr/>
                </p:nvSpPr>
                <p:spPr bwMode="auto">
                  <a:xfrm>
                    <a:off x="3920" y="959"/>
                    <a:ext cx="64" cy="60"/>
                  </a:xfrm>
                  <a:custGeom>
                    <a:avLst/>
                    <a:gdLst>
                      <a:gd name="T0" fmla="+- 0 3974 3920"/>
                      <a:gd name="T1" fmla="*/ T0 w 64"/>
                      <a:gd name="T2" fmla="+- 0 980 959"/>
                      <a:gd name="T3" fmla="*/ 980 h 60"/>
                      <a:gd name="T4" fmla="+- 0 3964 3920"/>
                      <a:gd name="T5" fmla="*/ T4 w 64"/>
                      <a:gd name="T6" fmla="+- 0 980 959"/>
                      <a:gd name="T7" fmla="*/ 980 h 60"/>
                      <a:gd name="T8" fmla="+- 0 3969 3920"/>
                      <a:gd name="T9" fmla="*/ T8 w 64"/>
                      <a:gd name="T10" fmla="+- 0 981 959"/>
                      <a:gd name="T11" fmla="*/ 981 h 60"/>
                      <a:gd name="T12" fmla="+- 0 3970 3920"/>
                      <a:gd name="T13" fmla="*/ T12 w 64"/>
                      <a:gd name="T14" fmla="+- 0 981 959"/>
                      <a:gd name="T15" fmla="*/ 981 h 60"/>
                      <a:gd name="T16" fmla="+- 0 3974 3920"/>
                      <a:gd name="T17" fmla="*/ T16 w 64"/>
                      <a:gd name="T18" fmla="+- 0 980 959"/>
                      <a:gd name="T19" fmla="*/ 980 h 60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64" h="60">
                        <a:moveTo>
                          <a:pt x="54" y="21"/>
                        </a:moveTo>
                        <a:lnTo>
                          <a:pt x="44" y="21"/>
                        </a:lnTo>
                        <a:lnTo>
                          <a:pt x="49" y="22"/>
                        </a:lnTo>
                        <a:lnTo>
                          <a:pt x="50" y="22"/>
                        </a:lnTo>
                        <a:lnTo>
                          <a:pt x="54" y="21"/>
                        </a:lnTo>
                        <a:close/>
                      </a:path>
                    </a:pathLst>
                  </a:custGeom>
                  <a:solidFill>
                    <a:srgbClr val="A9ACB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887" name="Picture 95"/>
                  <p:cNvPicPr>
                    <a:picLocks noChangeAspect="1" noChangeArrowheads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272" y="3794"/>
                    <a:ext cx="47" cy="6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545820" name="Group 96"/>
                <p:cNvGrpSpPr>
                  <a:grpSpLocks/>
                </p:cNvGrpSpPr>
                <p:nvPr/>
              </p:nvGrpSpPr>
              <p:grpSpPr bwMode="auto">
                <a:xfrm>
                  <a:off x="4216" y="7259"/>
                  <a:ext cx="43" cy="61"/>
                  <a:chOff x="4216" y="3794"/>
                  <a:chExt cx="43" cy="61"/>
                </a:xfrm>
              </p:grpSpPr>
              <p:sp>
                <p:nvSpPr>
                  <p:cNvPr id="545934" name="Freeform 97"/>
                  <p:cNvSpPr>
                    <a:spLocks/>
                  </p:cNvSpPr>
                  <p:nvPr/>
                </p:nvSpPr>
                <p:spPr bwMode="auto">
                  <a:xfrm>
                    <a:off x="4216" y="3794"/>
                    <a:ext cx="43" cy="61"/>
                  </a:xfrm>
                  <a:custGeom>
                    <a:avLst/>
                    <a:gdLst>
                      <a:gd name="T0" fmla="+- 0 4259 4216"/>
                      <a:gd name="T1" fmla="*/ T0 w 43"/>
                      <a:gd name="T2" fmla="+- 0 3794 3794"/>
                      <a:gd name="T3" fmla="*/ 3794 h 61"/>
                      <a:gd name="T4" fmla="+- 0 4217 4216"/>
                      <a:gd name="T5" fmla="*/ T4 w 43"/>
                      <a:gd name="T6" fmla="+- 0 3794 3794"/>
                      <a:gd name="T7" fmla="*/ 3794 h 61"/>
                      <a:gd name="T8" fmla="+- 0 4216 4216"/>
                      <a:gd name="T9" fmla="*/ T8 w 43"/>
                      <a:gd name="T10" fmla="+- 0 3795 3794"/>
                      <a:gd name="T11" fmla="*/ 3795 h 61"/>
                      <a:gd name="T12" fmla="+- 0 4216 4216"/>
                      <a:gd name="T13" fmla="*/ T12 w 43"/>
                      <a:gd name="T14" fmla="+- 0 3855 3794"/>
                      <a:gd name="T15" fmla="*/ 3855 h 61"/>
                      <a:gd name="T16" fmla="+- 0 4217 4216"/>
                      <a:gd name="T17" fmla="*/ T16 w 43"/>
                      <a:gd name="T18" fmla="+- 0 3856 3794"/>
                      <a:gd name="T19" fmla="*/ 3856 h 61"/>
                      <a:gd name="T20" fmla="+- 0 4259 4216"/>
                      <a:gd name="T21" fmla="*/ T20 w 43"/>
                      <a:gd name="T22" fmla="+- 0 3856 3794"/>
                      <a:gd name="T23" fmla="*/ 3856 h 61"/>
                      <a:gd name="T24" fmla="+- 0 4259 4216"/>
                      <a:gd name="T25" fmla="*/ T24 w 43"/>
                      <a:gd name="T26" fmla="+- 0 3855 3794"/>
                      <a:gd name="T27" fmla="*/ 3855 h 61"/>
                      <a:gd name="T28" fmla="+- 0 4259 4216"/>
                      <a:gd name="T29" fmla="*/ T28 w 43"/>
                      <a:gd name="T30" fmla="+- 0 3795 3794"/>
                      <a:gd name="T31" fmla="*/ 3795 h 61"/>
                      <a:gd name="T32" fmla="+- 0 4259 4216"/>
                      <a:gd name="T33" fmla="*/ T32 w 43"/>
                      <a:gd name="T34" fmla="+- 0 3794 3794"/>
                      <a:gd name="T35" fmla="*/ 3794 h 61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43" h="61">
                        <a:moveTo>
                          <a:pt x="43" y="0"/>
                        </a:move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61"/>
                        </a:lnTo>
                        <a:lnTo>
                          <a:pt x="1" y="62"/>
                        </a:lnTo>
                        <a:lnTo>
                          <a:pt x="43" y="62"/>
                        </a:lnTo>
                        <a:lnTo>
                          <a:pt x="43" y="61"/>
                        </a:lnTo>
                        <a:lnTo>
                          <a:pt x="43" y="1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1C1E1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1" name="Group 98"/>
                <p:cNvGrpSpPr>
                  <a:grpSpLocks/>
                </p:cNvGrpSpPr>
                <p:nvPr/>
              </p:nvGrpSpPr>
              <p:grpSpPr bwMode="auto">
                <a:xfrm>
                  <a:off x="3939" y="7214"/>
                  <a:ext cx="2" cy="145"/>
                  <a:chOff x="3939" y="3749"/>
                  <a:chExt cx="2" cy="145"/>
                </a:xfrm>
              </p:grpSpPr>
              <p:sp>
                <p:nvSpPr>
                  <p:cNvPr id="545933" name="Freeform 99"/>
                  <p:cNvSpPr>
                    <a:spLocks/>
                  </p:cNvSpPr>
                  <p:nvPr/>
                </p:nvSpPr>
                <p:spPr bwMode="auto">
                  <a:xfrm>
                    <a:off x="3939" y="3749"/>
                    <a:ext cx="2" cy="145"/>
                  </a:xfrm>
                  <a:custGeom>
                    <a:avLst/>
                    <a:gdLst>
                      <a:gd name="T0" fmla="+- 0 3749 3749"/>
                      <a:gd name="T1" fmla="*/ 3749 h 145"/>
                      <a:gd name="T2" fmla="+- 0 3894 3749"/>
                      <a:gd name="T3" fmla="*/ 3894 h 145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145">
                        <a:moveTo>
                          <a:pt x="0" y="0"/>
                        </a:moveTo>
                        <a:lnTo>
                          <a:pt x="0" y="145"/>
                        </a:lnTo>
                      </a:path>
                    </a:pathLst>
                  </a:custGeom>
                  <a:noFill/>
                  <a:ln w="4000">
                    <a:solidFill>
                      <a:srgbClr val="221F1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2" name="Group 100"/>
                <p:cNvGrpSpPr>
                  <a:grpSpLocks/>
                </p:cNvGrpSpPr>
                <p:nvPr/>
              </p:nvGrpSpPr>
              <p:grpSpPr bwMode="auto">
                <a:xfrm>
                  <a:off x="3920" y="7207"/>
                  <a:ext cx="39" cy="39"/>
                  <a:chOff x="3920" y="3742"/>
                  <a:chExt cx="39" cy="39"/>
                </a:xfrm>
              </p:grpSpPr>
              <p:sp>
                <p:nvSpPr>
                  <p:cNvPr id="545932" name="Freeform 101"/>
                  <p:cNvSpPr>
                    <a:spLocks/>
                  </p:cNvSpPr>
                  <p:nvPr/>
                </p:nvSpPr>
                <p:spPr bwMode="auto">
                  <a:xfrm>
                    <a:off x="3920" y="3742"/>
                    <a:ext cx="39" cy="39"/>
                  </a:xfrm>
                  <a:custGeom>
                    <a:avLst/>
                    <a:gdLst>
                      <a:gd name="T0" fmla="+- 0 3939 3920"/>
                      <a:gd name="T1" fmla="*/ T0 w 39"/>
                      <a:gd name="T2" fmla="+- 0 3780 3742"/>
                      <a:gd name="T3" fmla="*/ 3780 h 39"/>
                      <a:gd name="T4" fmla="+- 0 3929 3920"/>
                      <a:gd name="T5" fmla="*/ T4 w 39"/>
                      <a:gd name="T6" fmla="+- 0 3780 3742"/>
                      <a:gd name="T7" fmla="*/ 3780 h 39"/>
                      <a:gd name="T8" fmla="+- 0 3920 3920"/>
                      <a:gd name="T9" fmla="*/ T8 w 39"/>
                      <a:gd name="T10" fmla="+- 0 3772 3742"/>
                      <a:gd name="T11" fmla="*/ 3772 h 39"/>
                      <a:gd name="T12" fmla="+- 0 3920 3920"/>
                      <a:gd name="T13" fmla="*/ T12 w 39"/>
                      <a:gd name="T14" fmla="+- 0 3761 3742"/>
                      <a:gd name="T15" fmla="*/ 3761 h 39"/>
                      <a:gd name="T16" fmla="+- 0 3920 3920"/>
                      <a:gd name="T17" fmla="*/ T16 w 39"/>
                      <a:gd name="T18" fmla="+- 0 3750 3742"/>
                      <a:gd name="T19" fmla="*/ 3750 h 39"/>
                      <a:gd name="T20" fmla="+- 0 3929 3920"/>
                      <a:gd name="T21" fmla="*/ T20 w 39"/>
                      <a:gd name="T22" fmla="+- 0 3742 3742"/>
                      <a:gd name="T23" fmla="*/ 3742 h 39"/>
                      <a:gd name="T24" fmla="+- 0 3939 3920"/>
                      <a:gd name="T25" fmla="*/ T24 w 39"/>
                      <a:gd name="T26" fmla="+- 0 3742 3742"/>
                      <a:gd name="T27" fmla="*/ 3742 h 39"/>
                      <a:gd name="T28" fmla="+- 0 3950 3920"/>
                      <a:gd name="T29" fmla="*/ T28 w 39"/>
                      <a:gd name="T30" fmla="+- 0 3742 3742"/>
                      <a:gd name="T31" fmla="*/ 3742 h 39"/>
                      <a:gd name="T32" fmla="+- 0 3959 3920"/>
                      <a:gd name="T33" fmla="*/ T32 w 39"/>
                      <a:gd name="T34" fmla="+- 0 3750 3742"/>
                      <a:gd name="T35" fmla="*/ 3750 h 39"/>
                      <a:gd name="T36" fmla="+- 0 3959 3920"/>
                      <a:gd name="T37" fmla="*/ T36 w 39"/>
                      <a:gd name="T38" fmla="+- 0 3761 3742"/>
                      <a:gd name="T39" fmla="*/ 3761 h 39"/>
                      <a:gd name="T40" fmla="+- 0 3959 3920"/>
                      <a:gd name="T41" fmla="*/ T40 w 39"/>
                      <a:gd name="T42" fmla="+- 0 3772 3742"/>
                      <a:gd name="T43" fmla="*/ 3772 h 39"/>
                      <a:gd name="T44" fmla="+- 0 3950 3920"/>
                      <a:gd name="T45" fmla="*/ T44 w 39"/>
                      <a:gd name="T46" fmla="+- 0 3780 3742"/>
                      <a:gd name="T47" fmla="*/ 3780 h 39"/>
                      <a:gd name="T48" fmla="+- 0 3939 3920"/>
                      <a:gd name="T49" fmla="*/ T48 w 39"/>
                      <a:gd name="T50" fmla="+- 0 3780 3742"/>
                      <a:gd name="T51" fmla="*/ 3780 h 39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</a:cxnLst>
                    <a:rect l="0" t="0" r="r" b="b"/>
                    <a:pathLst>
                      <a:path w="39" h="39">
                        <a:moveTo>
                          <a:pt x="19" y="38"/>
                        </a:moveTo>
                        <a:lnTo>
                          <a:pt x="9" y="38"/>
                        </a:lnTo>
                        <a:lnTo>
                          <a:pt x="0" y="30"/>
                        </a:lnTo>
                        <a:lnTo>
                          <a:pt x="0" y="19"/>
                        </a:lnTo>
                        <a:lnTo>
                          <a:pt x="0" y="8"/>
                        </a:lnTo>
                        <a:lnTo>
                          <a:pt x="9" y="0"/>
                        </a:lnTo>
                        <a:lnTo>
                          <a:pt x="19" y="0"/>
                        </a:lnTo>
                        <a:lnTo>
                          <a:pt x="30" y="0"/>
                        </a:lnTo>
                        <a:lnTo>
                          <a:pt x="39" y="8"/>
                        </a:lnTo>
                        <a:lnTo>
                          <a:pt x="39" y="19"/>
                        </a:lnTo>
                        <a:lnTo>
                          <a:pt x="39" y="30"/>
                        </a:lnTo>
                        <a:lnTo>
                          <a:pt x="30" y="38"/>
                        </a:lnTo>
                        <a:lnTo>
                          <a:pt x="19" y="38"/>
                        </a:lnTo>
                        <a:close/>
                      </a:path>
                    </a:pathLst>
                  </a:custGeom>
                  <a:noFill/>
                  <a:ln w="3670">
                    <a:solidFill>
                      <a:srgbClr val="221F1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3" name="Group 102"/>
                <p:cNvGrpSpPr>
                  <a:grpSpLocks/>
                </p:cNvGrpSpPr>
                <p:nvPr/>
              </p:nvGrpSpPr>
              <p:grpSpPr bwMode="auto">
                <a:xfrm>
                  <a:off x="3920" y="7330"/>
                  <a:ext cx="39" cy="39"/>
                  <a:chOff x="3920" y="3865"/>
                  <a:chExt cx="39" cy="39"/>
                </a:xfrm>
              </p:grpSpPr>
              <p:sp>
                <p:nvSpPr>
                  <p:cNvPr id="545931" name="Freeform 103"/>
                  <p:cNvSpPr>
                    <a:spLocks/>
                  </p:cNvSpPr>
                  <p:nvPr/>
                </p:nvSpPr>
                <p:spPr bwMode="auto">
                  <a:xfrm>
                    <a:off x="3920" y="3865"/>
                    <a:ext cx="39" cy="39"/>
                  </a:xfrm>
                  <a:custGeom>
                    <a:avLst/>
                    <a:gdLst>
                      <a:gd name="T0" fmla="+- 0 3939 3920"/>
                      <a:gd name="T1" fmla="*/ T0 w 39"/>
                      <a:gd name="T2" fmla="+- 0 3904 3865"/>
                      <a:gd name="T3" fmla="*/ 3904 h 39"/>
                      <a:gd name="T4" fmla="+- 0 3929 3920"/>
                      <a:gd name="T5" fmla="*/ T4 w 39"/>
                      <a:gd name="T6" fmla="+- 0 3904 3865"/>
                      <a:gd name="T7" fmla="*/ 3904 h 39"/>
                      <a:gd name="T8" fmla="+- 0 3920 3920"/>
                      <a:gd name="T9" fmla="*/ T8 w 39"/>
                      <a:gd name="T10" fmla="+- 0 3896 3865"/>
                      <a:gd name="T11" fmla="*/ 3896 h 39"/>
                      <a:gd name="T12" fmla="+- 0 3920 3920"/>
                      <a:gd name="T13" fmla="*/ T12 w 39"/>
                      <a:gd name="T14" fmla="+- 0 3885 3865"/>
                      <a:gd name="T15" fmla="*/ 3885 h 39"/>
                      <a:gd name="T16" fmla="+- 0 3920 3920"/>
                      <a:gd name="T17" fmla="*/ T16 w 39"/>
                      <a:gd name="T18" fmla="+- 0 3874 3865"/>
                      <a:gd name="T19" fmla="*/ 3874 h 39"/>
                      <a:gd name="T20" fmla="+- 0 3929 3920"/>
                      <a:gd name="T21" fmla="*/ T20 w 39"/>
                      <a:gd name="T22" fmla="+- 0 3865 3865"/>
                      <a:gd name="T23" fmla="*/ 3865 h 39"/>
                      <a:gd name="T24" fmla="+- 0 3939 3920"/>
                      <a:gd name="T25" fmla="*/ T24 w 39"/>
                      <a:gd name="T26" fmla="+- 0 3865 3865"/>
                      <a:gd name="T27" fmla="*/ 3865 h 39"/>
                      <a:gd name="T28" fmla="+- 0 3950 3920"/>
                      <a:gd name="T29" fmla="*/ T28 w 39"/>
                      <a:gd name="T30" fmla="+- 0 3865 3865"/>
                      <a:gd name="T31" fmla="*/ 3865 h 39"/>
                      <a:gd name="T32" fmla="+- 0 3959 3920"/>
                      <a:gd name="T33" fmla="*/ T32 w 39"/>
                      <a:gd name="T34" fmla="+- 0 3874 3865"/>
                      <a:gd name="T35" fmla="*/ 3874 h 39"/>
                      <a:gd name="T36" fmla="+- 0 3959 3920"/>
                      <a:gd name="T37" fmla="*/ T36 w 39"/>
                      <a:gd name="T38" fmla="+- 0 3885 3865"/>
                      <a:gd name="T39" fmla="*/ 3885 h 39"/>
                      <a:gd name="T40" fmla="+- 0 3959 3920"/>
                      <a:gd name="T41" fmla="*/ T40 w 39"/>
                      <a:gd name="T42" fmla="+- 0 3896 3865"/>
                      <a:gd name="T43" fmla="*/ 3896 h 39"/>
                      <a:gd name="T44" fmla="+- 0 3950 3920"/>
                      <a:gd name="T45" fmla="*/ T44 w 39"/>
                      <a:gd name="T46" fmla="+- 0 3904 3865"/>
                      <a:gd name="T47" fmla="*/ 3904 h 39"/>
                      <a:gd name="T48" fmla="+- 0 3939 3920"/>
                      <a:gd name="T49" fmla="*/ T48 w 39"/>
                      <a:gd name="T50" fmla="+- 0 3904 3865"/>
                      <a:gd name="T51" fmla="*/ 3904 h 39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</a:cxnLst>
                    <a:rect l="0" t="0" r="r" b="b"/>
                    <a:pathLst>
                      <a:path w="39" h="39">
                        <a:moveTo>
                          <a:pt x="19" y="39"/>
                        </a:moveTo>
                        <a:lnTo>
                          <a:pt x="9" y="39"/>
                        </a:lnTo>
                        <a:lnTo>
                          <a:pt x="0" y="31"/>
                        </a:lnTo>
                        <a:lnTo>
                          <a:pt x="0" y="20"/>
                        </a:lnTo>
                        <a:lnTo>
                          <a:pt x="0" y="9"/>
                        </a:lnTo>
                        <a:lnTo>
                          <a:pt x="9" y="0"/>
                        </a:lnTo>
                        <a:lnTo>
                          <a:pt x="19" y="0"/>
                        </a:lnTo>
                        <a:lnTo>
                          <a:pt x="30" y="0"/>
                        </a:lnTo>
                        <a:lnTo>
                          <a:pt x="39" y="9"/>
                        </a:lnTo>
                        <a:lnTo>
                          <a:pt x="39" y="20"/>
                        </a:lnTo>
                        <a:lnTo>
                          <a:pt x="39" y="31"/>
                        </a:lnTo>
                        <a:lnTo>
                          <a:pt x="30" y="39"/>
                        </a:lnTo>
                        <a:lnTo>
                          <a:pt x="19" y="39"/>
                        </a:lnTo>
                        <a:close/>
                      </a:path>
                    </a:pathLst>
                  </a:custGeom>
                  <a:noFill/>
                  <a:ln w="3670">
                    <a:solidFill>
                      <a:srgbClr val="221F1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64" name="Group 104"/>
                <p:cNvGrpSpPr>
                  <a:grpSpLocks/>
                </p:cNvGrpSpPr>
                <p:nvPr/>
              </p:nvGrpSpPr>
              <p:grpSpPr bwMode="auto">
                <a:xfrm>
                  <a:off x="3920" y="7269"/>
                  <a:ext cx="39" cy="37"/>
                  <a:chOff x="3920" y="3804"/>
                  <a:chExt cx="39" cy="37"/>
                </a:xfrm>
              </p:grpSpPr>
              <p:sp>
                <p:nvSpPr>
                  <p:cNvPr id="545930" name="Freeform 105"/>
                  <p:cNvSpPr>
                    <a:spLocks/>
                  </p:cNvSpPr>
                  <p:nvPr/>
                </p:nvSpPr>
                <p:spPr bwMode="auto">
                  <a:xfrm>
                    <a:off x="3920" y="3804"/>
                    <a:ext cx="39" cy="37"/>
                  </a:xfrm>
                  <a:custGeom>
                    <a:avLst/>
                    <a:gdLst>
                      <a:gd name="T0" fmla="+- 0 3931 3920"/>
                      <a:gd name="T1" fmla="*/ T0 w 39"/>
                      <a:gd name="T2" fmla="+- 0 3841 3804"/>
                      <a:gd name="T3" fmla="*/ 3841 h 37"/>
                      <a:gd name="T4" fmla="+- 0 3925 3920"/>
                      <a:gd name="T5" fmla="*/ T4 w 39"/>
                      <a:gd name="T6" fmla="+- 0 3838 3804"/>
                      <a:gd name="T7" fmla="*/ 3838 h 37"/>
                      <a:gd name="T8" fmla="+- 0 3920 3920"/>
                      <a:gd name="T9" fmla="*/ T8 w 39"/>
                      <a:gd name="T10" fmla="+- 0 3831 3804"/>
                      <a:gd name="T11" fmla="*/ 3831 h 37"/>
                      <a:gd name="T12" fmla="+- 0 3920 3920"/>
                      <a:gd name="T13" fmla="*/ T12 w 39"/>
                      <a:gd name="T14" fmla="+- 0 3823 3804"/>
                      <a:gd name="T15" fmla="*/ 3823 h 37"/>
                      <a:gd name="T16" fmla="+- 0 3920 3920"/>
                      <a:gd name="T17" fmla="*/ T16 w 39"/>
                      <a:gd name="T18" fmla="+- 0 3812 3804"/>
                      <a:gd name="T19" fmla="*/ 3812 h 37"/>
                      <a:gd name="T20" fmla="+- 0 3929 3920"/>
                      <a:gd name="T21" fmla="*/ T20 w 39"/>
                      <a:gd name="T22" fmla="+- 0 3804 3804"/>
                      <a:gd name="T23" fmla="*/ 3804 h 37"/>
                      <a:gd name="T24" fmla="+- 0 3939 3920"/>
                      <a:gd name="T25" fmla="*/ T24 w 39"/>
                      <a:gd name="T26" fmla="+- 0 3804 3804"/>
                      <a:gd name="T27" fmla="*/ 3804 h 37"/>
                      <a:gd name="T28" fmla="+- 0 3950 3920"/>
                      <a:gd name="T29" fmla="*/ T28 w 39"/>
                      <a:gd name="T30" fmla="+- 0 3804 3804"/>
                      <a:gd name="T31" fmla="*/ 3804 h 37"/>
                      <a:gd name="T32" fmla="+- 0 3959 3920"/>
                      <a:gd name="T33" fmla="*/ T32 w 39"/>
                      <a:gd name="T34" fmla="+- 0 3812 3804"/>
                      <a:gd name="T35" fmla="*/ 3812 h 37"/>
                      <a:gd name="T36" fmla="+- 0 3959 3920"/>
                      <a:gd name="T37" fmla="*/ T36 w 39"/>
                      <a:gd name="T38" fmla="+- 0 3823 3804"/>
                      <a:gd name="T39" fmla="*/ 3823 h 37"/>
                      <a:gd name="T40" fmla="+- 0 3959 3920"/>
                      <a:gd name="T41" fmla="*/ T40 w 39"/>
                      <a:gd name="T42" fmla="+- 0 3831 3804"/>
                      <a:gd name="T43" fmla="*/ 3831 h 37"/>
                      <a:gd name="T44" fmla="+- 0 3954 3920"/>
                      <a:gd name="T45" fmla="*/ T44 w 39"/>
                      <a:gd name="T46" fmla="+- 0 3838 3804"/>
                      <a:gd name="T47" fmla="*/ 3838 h 37"/>
                      <a:gd name="T48" fmla="+- 0 3947 3920"/>
                      <a:gd name="T49" fmla="*/ T48 w 39"/>
                      <a:gd name="T50" fmla="+- 0 3841 3804"/>
                      <a:gd name="T51" fmla="*/ 3841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</a:cxnLst>
                    <a:rect l="0" t="0" r="r" b="b"/>
                    <a:pathLst>
                      <a:path w="39" h="37">
                        <a:moveTo>
                          <a:pt x="11" y="37"/>
                        </a:moveTo>
                        <a:lnTo>
                          <a:pt x="5" y="34"/>
                        </a:lnTo>
                        <a:lnTo>
                          <a:pt x="0" y="27"/>
                        </a:lnTo>
                        <a:lnTo>
                          <a:pt x="0" y="19"/>
                        </a:lnTo>
                        <a:lnTo>
                          <a:pt x="0" y="8"/>
                        </a:lnTo>
                        <a:lnTo>
                          <a:pt x="9" y="0"/>
                        </a:lnTo>
                        <a:lnTo>
                          <a:pt x="19" y="0"/>
                        </a:lnTo>
                        <a:lnTo>
                          <a:pt x="30" y="0"/>
                        </a:lnTo>
                        <a:lnTo>
                          <a:pt x="39" y="8"/>
                        </a:lnTo>
                        <a:lnTo>
                          <a:pt x="39" y="19"/>
                        </a:lnTo>
                        <a:lnTo>
                          <a:pt x="39" y="27"/>
                        </a:lnTo>
                        <a:lnTo>
                          <a:pt x="34" y="34"/>
                        </a:lnTo>
                        <a:lnTo>
                          <a:pt x="27" y="37"/>
                        </a:lnTo>
                      </a:path>
                    </a:pathLst>
                  </a:custGeom>
                  <a:noFill/>
                  <a:ln w="3670">
                    <a:solidFill>
                      <a:srgbClr val="221F1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65" name="Group 106"/>
                <p:cNvGrpSpPr>
                  <a:grpSpLocks/>
                </p:cNvGrpSpPr>
                <p:nvPr/>
              </p:nvGrpSpPr>
              <p:grpSpPr bwMode="auto">
                <a:xfrm>
                  <a:off x="3930" y="7279"/>
                  <a:ext cx="19" cy="19"/>
                  <a:chOff x="3930" y="3814"/>
                  <a:chExt cx="19" cy="19"/>
                </a:xfrm>
              </p:grpSpPr>
              <p:sp>
                <p:nvSpPr>
                  <p:cNvPr id="545929" name="Freeform 107"/>
                  <p:cNvSpPr>
                    <a:spLocks/>
                  </p:cNvSpPr>
                  <p:nvPr/>
                </p:nvSpPr>
                <p:spPr bwMode="auto">
                  <a:xfrm>
                    <a:off x="3930" y="3814"/>
                    <a:ext cx="19" cy="19"/>
                  </a:xfrm>
                  <a:custGeom>
                    <a:avLst/>
                    <a:gdLst>
                      <a:gd name="T0" fmla="+- 0 3945 3930"/>
                      <a:gd name="T1" fmla="*/ T0 w 19"/>
                      <a:gd name="T2" fmla="+- 0 3814 3814"/>
                      <a:gd name="T3" fmla="*/ 3814 h 19"/>
                      <a:gd name="T4" fmla="+- 0 3934 3930"/>
                      <a:gd name="T5" fmla="*/ T4 w 19"/>
                      <a:gd name="T6" fmla="+- 0 3814 3814"/>
                      <a:gd name="T7" fmla="*/ 3814 h 19"/>
                      <a:gd name="T8" fmla="+- 0 3930 3930"/>
                      <a:gd name="T9" fmla="*/ T8 w 19"/>
                      <a:gd name="T10" fmla="+- 0 3819 3814"/>
                      <a:gd name="T11" fmla="*/ 3819 h 19"/>
                      <a:gd name="T12" fmla="+- 0 3930 3930"/>
                      <a:gd name="T13" fmla="*/ T12 w 19"/>
                      <a:gd name="T14" fmla="+- 0 3829 3814"/>
                      <a:gd name="T15" fmla="*/ 3829 h 19"/>
                      <a:gd name="T16" fmla="+- 0 3934 3930"/>
                      <a:gd name="T17" fmla="*/ T16 w 19"/>
                      <a:gd name="T18" fmla="+- 0 3833 3814"/>
                      <a:gd name="T19" fmla="*/ 3833 h 19"/>
                      <a:gd name="T20" fmla="+- 0 3945 3930"/>
                      <a:gd name="T21" fmla="*/ T20 w 19"/>
                      <a:gd name="T22" fmla="+- 0 3833 3814"/>
                      <a:gd name="T23" fmla="*/ 3833 h 19"/>
                      <a:gd name="T24" fmla="+- 0 3949 3930"/>
                      <a:gd name="T25" fmla="*/ T24 w 19"/>
                      <a:gd name="T26" fmla="+- 0 3829 3814"/>
                      <a:gd name="T27" fmla="*/ 3829 h 19"/>
                      <a:gd name="T28" fmla="+- 0 3949 3930"/>
                      <a:gd name="T29" fmla="*/ T28 w 19"/>
                      <a:gd name="T30" fmla="+- 0 3819 3814"/>
                      <a:gd name="T31" fmla="*/ 3819 h 19"/>
                      <a:gd name="T32" fmla="+- 0 3945 3930"/>
                      <a:gd name="T33" fmla="*/ T32 w 19"/>
                      <a:gd name="T34" fmla="+- 0 3814 3814"/>
                      <a:gd name="T35" fmla="*/ 3814 h 19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19" h="19">
                        <a:moveTo>
                          <a:pt x="15" y="0"/>
                        </a:moveTo>
                        <a:lnTo>
                          <a:pt x="4" y="0"/>
                        </a:lnTo>
                        <a:lnTo>
                          <a:pt x="0" y="5"/>
                        </a:lnTo>
                        <a:lnTo>
                          <a:pt x="0" y="15"/>
                        </a:lnTo>
                        <a:lnTo>
                          <a:pt x="4" y="19"/>
                        </a:lnTo>
                        <a:lnTo>
                          <a:pt x="15" y="19"/>
                        </a:lnTo>
                        <a:lnTo>
                          <a:pt x="19" y="15"/>
                        </a:lnTo>
                        <a:lnTo>
                          <a:pt x="19" y="5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solidFill>
                    <a:srgbClr val="221F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66" name="Group 108"/>
                <p:cNvGrpSpPr>
                  <a:grpSpLocks/>
                </p:cNvGrpSpPr>
                <p:nvPr/>
              </p:nvGrpSpPr>
              <p:grpSpPr bwMode="auto">
                <a:xfrm>
                  <a:off x="3929" y="7349"/>
                  <a:ext cx="20" cy="2"/>
                  <a:chOff x="3929" y="3884"/>
                  <a:chExt cx="20" cy="2"/>
                </a:xfrm>
              </p:grpSpPr>
              <p:sp>
                <p:nvSpPr>
                  <p:cNvPr id="545928" name="Freeform 109"/>
                  <p:cNvSpPr>
                    <a:spLocks/>
                  </p:cNvSpPr>
                  <p:nvPr/>
                </p:nvSpPr>
                <p:spPr bwMode="auto">
                  <a:xfrm>
                    <a:off x="3929" y="3884"/>
                    <a:ext cx="20" cy="2"/>
                  </a:xfrm>
                  <a:custGeom>
                    <a:avLst/>
                    <a:gdLst>
                      <a:gd name="T0" fmla="+- 0 3949 3929"/>
                      <a:gd name="T1" fmla="*/ T0 w 20"/>
                      <a:gd name="T2" fmla="+- 0 3929 3929"/>
                      <a:gd name="T3" fmla="*/ T2 w 20"/>
                    </a:gdLst>
                    <a:ahLst/>
                    <a:cxnLst>
                      <a:cxn ang="0">
                        <a:pos x="T1" y="0"/>
                      </a:cxn>
                      <a:cxn ang="0">
                        <a:pos x="T3" y="0"/>
                      </a:cxn>
                    </a:cxnLst>
                    <a:rect l="0" t="0" r="r" b="b"/>
                    <a:pathLst>
                      <a:path w="20">
                        <a:moveTo>
                          <a:pt x="20" y="0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3340">
                    <a:solidFill>
                      <a:srgbClr val="221F1F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67" name="Group 110"/>
                <p:cNvGrpSpPr>
                  <a:grpSpLocks/>
                </p:cNvGrpSpPr>
                <p:nvPr/>
              </p:nvGrpSpPr>
              <p:grpSpPr bwMode="auto">
                <a:xfrm>
                  <a:off x="4193" y="5492"/>
                  <a:ext cx="28" cy="57"/>
                  <a:chOff x="4193" y="2027"/>
                  <a:chExt cx="28" cy="57"/>
                </a:xfrm>
              </p:grpSpPr>
              <p:sp>
                <p:nvSpPr>
                  <p:cNvPr id="545927" name="Freeform 111"/>
                  <p:cNvSpPr>
                    <a:spLocks/>
                  </p:cNvSpPr>
                  <p:nvPr/>
                </p:nvSpPr>
                <p:spPr bwMode="auto">
                  <a:xfrm>
                    <a:off x="4193" y="2027"/>
                    <a:ext cx="28" cy="57"/>
                  </a:xfrm>
                  <a:custGeom>
                    <a:avLst/>
                    <a:gdLst>
                      <a:gd name="T0" fmla="+- 0 4220 4193"/>
                      <a:gd name="T1" fmla="*/ T0 w 28"/>
                      <a:gd name="T2" fmla="+- 0 2027 2027"/>
                      <a:gd name="T3" fmla="*/ 2027 h 57"/>
                      <a:gd name="T4" fmla="+- 0 4194 4193"/>
                      <a:gd name="T5" fmla="*/ T4 w 28"/>
                      <a:gd name="T6" fmla="+- 0 2027 2027"/>
                      <a:gd name="T7" fmla="*/ 2027 h 57"/>
                      <a:gd name="T8" fmla="+- 0 4193 4193"/>
                      <a:gd name="T9" fmla="*/ T8 w 28"/>
                      <a:gd name="T10" fmla="+- 0 2028 2027"/>
                      <a:gd name="T11" fmla="*/ 2028 h 57"/>
                      <a:gd name="T12" fmla="+- 0 4193 4193"/>
                      <a:gd name="T13" fmla="*/ T12 w 28"/>
                      <a:gd name="T14" fmla="+- 0 2084 2027"/>
                      <a:gd name="T15" fmla="*/ 2084 h 57"/>
                      <a:gd name="T16" fmla="+- 0 4194 4193"/>
                      <a:gd name="T17" fmla="*/ T16 w 28"/>
                      <a:gd name="T18" fmla="+- 0 2084 2027"/>
                      <a:gd name="T19" fmla="*/ 2084 h 57"/>
                      <a:gd name="T20" fmla="+- 0 4220 4193"/>
                      <a:gd name="T21" fmla="*/ T20 w 28"/>
                      <a:gd name="T22" fmla="+- 0 2084 2027"/>
                      <a:gd name="T23" fmla="*/ 2084 h 57"/>
                      <a:gd name="T24" fmla="+- 0 4220 4193"/>
                      <a:gd name="T25" fmla="*/ T24 w 28"/>
                      <a:gd name="T26" fmla="+- 0 2084 2027"/>
                      <a:gd name="T27" fmla="*/ 2084 h 57"/>
                      <a:gd name="T28" fmla="+- 0 4220 4193"/>
                      <a:gd name="T29" fmla="*/ T28 w 28"/>
                      <a:gd name="T30" fmla="+- 0 2028 2027"/>
                      <a:gd name="T31" fmla="*/ 2028 h 57"/>
                      <a:gd name="T32" fmla="+- 0 4220 4193"/>
                      <a:gd name="T33" fmla="*/ T32 w 28"/>
                      <a:gd name="T34" fmla="+- 0 2027 2027"/>
                      <a:gd name="T35" fmla="*/ 2027 h 5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28" h="57">
                        <a:moveTo>
                          <a:pt x="27" y="0"/>
                        </a:move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57"/>
                        </a:lnTo>
                        <a:lnTo>
                          <a:pt x="1" y="57"/>
                        </a:lnTo>
                        <a:lnTo>
                          <a:pt x="27" y="57"/>
                        </a:lnTo>
                        <a:lnTo>
                          <a:pt x="27" y="1"/>
                        </a:lnTo>
                        <a:lnTo>
                          <a:pt x="27" y="0"/>
                        </a:lnTo>
                        <a:close/>
                      </a:path>
                    </a:pathLst>
                  </a:custGeom>
                  <a:solidFill>
                    <a:srgbClr val="1D1D1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68" name="Group 112"/>
                <p:cNvGrpSpPr>
                  <a:grpSpLocks/>
                </p:cNvGrpSpPr>
                <p:nvPr/>
              </p:nvGrpSpPr>
              <p:grpSpPr bwMode="auto">
                <a:xfrm>
                  <a:off x="4204" y="5507"/>
                  <a:ext cx="6" cy="6"/>
                  <a:chOff x="4204" y="2042"/>
                  <a:chExt cx="6" cy="6"/>
                </a:xfrm>
              </p:grpSpPr>
              <p:sp>
                <p:nvSpPr>
                  <p:cNvPr id="545926" name="Freeform 113"/>
                  <p:cNvSpPr>
                    <a:spLocks/>
                  </p:cNvSpPr>
                  <p:nvPr/>
                </p:nvSpPr>
                <p:spPr bwMode="auto">
                  <a:xfrm>
                    <a:off x="4204" y="2042"/>
                    <a:ext cx="6" cy="6"/>
                  </a:xfrm>
                  <a:custGeom>
                    <a:avLst/>
                    <a:gdLst>
                      <a:gd name="T0" fmla="+- 0 4208 4204"/>
                      <a:gd name="T1" fmla="*/ T0 w 6"/>
                      <a:gd name="T2" fmla="+- 0 2042 2042"/>
                      <a:gd name="T3" fmla="*/ 2042 h 6"/>
                      <a:gd name="T4" fmla="+- 0 4205 4204"/>
                      <a:gd name="T5" fmla="*/ T4 w 6"/>
                      <a:gd name="T6" fmla="+- 0 2042 2042"/>
                      <a:gd name="T7" fmla="*/ 2042 h 6"/>
                      <a:gd name="T8" fmla="+- 0 4204 4204"/>
                      <a:gd name="T9" fmla="*/ T8 w 6"/>
                      <a:gd name="T10" fmla="+- 0 2044 2042"/>
                      <a:gd name="T11" fmla="*/ 2044 h 6"/>
                      <a:gd name="T12" fmla="+- 0 4204 4204"/>
                      <a:gd name="T13" fmla="*/ T12 w 6"/>
                      <a:gd name="T14" fmla="+- 0 2047 2042"/>
                      <a:gd name="T15" fmla="*/ 2047 h 6"/>
                      <a:gd name="T16" fmla="+- 0 4205 4204"/>
                      <a:gd name="T17" fmla="*/ T16 w 6"/>
                      <a:gd name="T18" fmla="+- 0 2048 2042"/>
                      <a:gd name="T19" fmla="*/ 2048 h 6"/>
                      <a:gd name="T20" fmla="+- 0 4208 4204"/>
                      <a:gd name="T21" fmla="*/ T20 w 6"/>
                      <a:gd name="T22" fmla="+- 0 2048 2042"/>
                      <a:gd name="T23" fmla="*/ 2048 h 6"/>
                      <a:gd name="T24" fmla="+- 0 4210 4204"/>
                      <a:gd name="T25" fmla="*/ T24 w 6"/>
                      <a:gd name="T26" fmla="+- 0 2047 2042"/>
                      <a:gd name="T27" fmla="*/ 2047 h 6"/>
                      <a:gd name="T28" fmla="+- 0 4210 4204"/>
                      <a:gd name="T29" fmla="*/ T28 w 6"/>
                      <a:gd name="T30" fmla="+- 0 2044 2042"/>
                      <a:gd name="T31" fmla="*/ 2044 h 6"/>
                      <a:gd name="T32" fmla="+- 0 4208 4204"/>
                      <a:gd name="T33" fmla="*/ T32 w 6"/>
                      <a:gd name="T34" fmla="+- 0 2042 2042"/>
                      <a:gd name="T35" fmla="*/ 2042 h 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6" h="6">
                        <a:moveTo>
                          <a:pt x="4" y="0"/>
                        </a:moveTo>
                        <a:lnTo>
                          <a:pt x="1" y="0"/>
                        </a:lnTo>
                        <a:lnTo>
                          <a:pt x="0" y="2"/>
                        </a:lnTo>
                        <a:lnTo>
                          <a:pt x="0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6" y="5"/>
                        </a:lnTo>
                        <a:lnTo>
                          <a:pt x="6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906" name="Picture 114"/>
                  <p:cNvPicPr>
                    <a:picLocks noChangeAspect="1" noChangeArrowheads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76" y="2046"/>
                    <a:ext cx="69" cy="18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71" name="Group 115"/>
                <p:cNvGrpSpPr>
                  <a:grpSpLocks/>
                </p:cNvGrpSpPr>
                <p:nvPr/>
              </p:nvGrpSpPr>
              <p:grpSpPr bwMode="auto">
                <a:xfrm>
                  <a:off x="4076" y="5511"/>
                  <a:ext cx="141" cy="186"/>
                  <a:chOff x="4076" y="2046"/>
                  <a:chExt cx="141" cy="186"/>
                </a:xfrm>
              </p:grpSpPr>
              <p:sp>
                <p:nvSpPr>
                  <p:cNvPr id="545925" name="Freeform 116"/>
                  <p:cNvSpPr>
                    <a:spLocks/>
                  </p:cNvSpPr>
                  <p:nvPr/>
                </p:nvSpPr>
                <p:spPr bwMode="auto">
                  <a:xfrm>
                    <a:off x="4076" y="2046"/>
                    <a:ext cx="141" cy="186"/>
                  </a:xfrm>
                  <a:custGeom>
                    <a:avLst/>
                    <a:gdLst>
                      <a:gd name="T0" fmla="+- 0 4076 4076"/>
                      <a:gd name="T1" fmla="*/ T0 w 141"/>
                      <a:gd name="T2" fmla="+- 0 2140 2046"/>
                      <a:gd name="T3" fmla="*/ 2140 h 186"/>
                      <a:gd name="T4" fmla="+- 0 4076 4076"/>
                      <a:gd name="T5" fmla="*/ T4 w 141"/>
                      <a:gd name="T6" fmla="+- 0 2054 2046"/>
                      <a:gd name="T7" fmla="*/ 2054 h 186"/>
                      <a:gd name="T8" fmla="+- 0 4107 4076"/>
                      <a:gd name="T9" fmla="*/ T8 w 141"/>
                      <a:gd name="T10" fmla="+- 0 2054 2046"/>
                      <a:gd name="T11" fmla="*/ 2054 h 186"/>
                      <a:gd name="T12" fmla="+- 0 4107 4076"/>
                      <a:gd name="T13" fmla="*/ T12 w 141"/>
                      <a:gd name="T14" fmla="+- 0 2046 2046"/>
                      <a:gd name="T15" fmla="*/ 2046 h 186"/>
                      <a:gd name="T16" fmla="+- 0 4145 4076"/>
                      <a:gd name="T17" fmla="*/ T16 w 141"/>
                      <a:gd name="T18" fmla="+- 0 2046 2046"/>
                      <a:gd name="T19" fmla="*/ 2046 h 186"/>
                      <a:gd name="T20" fmla="+- 0 4145 4076"/>
                      <a:gd name="T21" fmla="*/ T20 w 141"/>
                      <a:gd name="T22" fmla="+- 0 2054 2046"/>
                      <a:gd name="T23" fmla="*/ 2054 h 186"/>
                      <a:gd name="T24" fmla="+- 0 4175 4076"/>
                      <a:gd name="T25" fmla="*/ T24 w 141"/>
                      <a:gd name="T26" fmla="+- 0 2054 2046"/>
                      <a:gd name="T27" fmla="*/ 2054 h 186"/>
                      <a:gd name="T28" fmla="+- 0 4175 4076"/>
                      <a:gd name="T29" fmla="*/ T28 w 141"/>
                      <a:gd name="T30" fmla="+- 0 2091 2046"/>
                      <a:gd name="T31" fmla="*/ 2091 h 186"/>
                      <a:gd name="T32" fmla="+- 0 4198 4076"/>
                      <a:gd name="T33" fmla="*/ T32 w 141"/>
                      <a:gd name="T34" fmla="+- 0 2091 2046"/>
                      <a:gd name="T35" fmla="*/ 2091 h 186"/>
                      <a:gd name="T36" fmla="+- 0 4198 4076"/>
                      <a:gd name="T37" fmla="*/ T36 w 141"/>
                      <a:gd name="T38" fmla="+- 0 2110 2046"/>
                      <a:gd name="T39" fmla="*/ 2110 h 186"/>
                      <a:gd name="T40" fmla="+- 0 4217 4076"/>
                      <a:gd name="T41" fmla="*/ T40 w 141"/>
                      <a:gd name="T42" fmla="+- 0 2110 2046"/>
                      <a:gd name="T43" fmla="*/ 2110 h 186"/>
                      <a:gd name="T44" fmla="+- 0 4217 4076"/>
                      <a:gd name="T45" fmla="*/ T44 w 141"/>
                      <a:gd name="T46" fmla="+- 0 2139 2046"/>
                      <a:gd name="T47" fmla="*/ 2139 h 186"/>
                      <a:gd name="T48" fmla="+- 0 4217 4076"/>
                      <a:gd name="T49" fmla="*/ T48 w 141"/>
                      <a:gd name="T50" fmla="+- 0 2168 2046"/>
                      <a:gd name="T51" fmla="*/ 2168 h 186"/>
                      <a:gd name="T52" fmla="+- 0 4198 4076"/>
                      <a:gd name="T53" fmla="*/ T52 w 141"/>
                      <a:gd name="T54" fmla="+- 0 2168 2046"/>
                      <a:gd name="T55" fmla="*/ 2168 h 186"/>
                      <a:gd name="T56" fmla="+- 0 4198 4076"/>
                      <a:gd name="T57" fmla="*/ T56 w 141"/>
                      <a:gd name="T58" fmla="+- 0 2186 2046"/>
                      <a:gd name="T59" fmla="*/ 2186 h 186"/>
                      <a:gd name="T60" fmla="+- 0 4175 4076"/>
                      <a:gd name="T61" fmla="*/ T60 w 141"/>
                      <a:gd name="T62" fmla="+- 0 2186 2046"/>
                      <a:gd name="T63" fmla="*/ 2186 h 186"/>
                      <a:gd name="T64" fmla="+- 0 4175 4076"/>
                      <a:gd name="T65" fmla="*/ T64 w 141"/>
                      <a:gd name="T66" fmla="+- 0 2224 2046"/>
                      <a:gd name="T67" fmla="*/ 2224 h 186"/>
                      <a:gd name="T68" fmla="+- 0 4145 4076"/>
                      <a:gd name="T69" fmla="*/ T68 w 141"/>
                      <a:gd name="T70" fmla="+- 0 2224 2046"/>
                      <a:gd name="T71" fmla="*/ 2224 h 186"/>
                      <a:gd name="T72" fmla="+- 0 4145 4076"/>
                      <a:gd name="T73" fmla="*/ T72 w 141"/>
                      <a:gd name="T74" fmla="+- 0 2232 2046"/>
                      <a:gd name="T75" fmla="*/ 2232 h 186"/>
                      <a:gd name="T76" fmla="+- 0 4107 4076"/>
                      <a:gd name="T77" fmla="*/ T76 w 141"/>
                      <a:gd name="T78" fmla="+- 0 2232 2046"/>
                      <a:gd name="T79" fmla="*/ 2232 h 186"/>
                      <a:gd name="T80" fmla="+- 0 4107 4076"/>
                      <a:gd name="T81" fmla="*/ T80 w 141"/>
                      <a:gd name="T82" fmla="+- 0 2224 2046"/>
                      <a:gd name="T83" fmla="*/ 2224 h 186"/>
                      <a:gd name="T84" fmla="+- 0 4076 4076"/>
                      <a:gd name="T85" fmla="*/ T84 w 141"/>
                      <a:gd name="T86" fmla="+- 0 2224 2046"/>
                      <a:gd name="T87" fmla="*/ 2224 h 186"/>
                      <a:gd name="T88" fmla="+- 0 4076 4076"/>
                      <a:gd name="T89" fmla="*/ T88 w 141"/>
                      <a:gd name="T90" fmla="+- 0 2140 2046"/>
                      <a:gd name="T91" fmla="*/ 2140 h 18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  <a:cxn ang="0">
                        <a:pos x="T69" y="T71"/>
                      </a:cxn>
                      <a:cxn ang="0">
                        <a:pos x="T73" y="T75"/>
                      </a:cxn>
                      <a:cxn ang="0">
                        <a:pos x="T77" y="T79"/>
                      </a:cxn>
                      <a:cxn ang="0">
                        <a:pos x="T81" y="T83"/>
                      </a:cxn>
                      <a:cxn ang="0">
                        <a:pos x="T85" y="T87"/>
                      </a:cxn>
                      <a:cxn ang="0">
                        <a:pos x="T89" y="T91"/>
                      </a:cxn>
                    </a:cxnLst>
                    <a:rect l="0" t="0" r="r" b="b"/>
                    <a:pathLst>
                      <a:path w="141" h="186">
                        <a:moveTo>
                          <a:pt x="0" y="94"/>
                        </a:moveTo>
                        <a:lnTo>
                          <a:pt x="0" y="8"/>
                        </a:lnTo>
                        <a:lnTo>
                          <a:pt x="31" y="8"/>
                        </a:lnTo>
                        <a:lnTo>
                          <a:pt x="31" y="0"/>
                        </a:lnTo>
                        <a:lnTo>
                          <a:pt x="69" y="0"/>
                        </a:lnTo>
                        <a:lnTo>
                          <a:pt x="69" y="8"/>
                        </a:lnTo>
                        <a:lnTo>
                          <a:pt x="99" y="8"/>
                        </a:lnTo>
                        <a:lnTo>
                          <a:pt x="99" y="45"/>
                        </a:lnTo>
                        <a:lnTo>
                          <a:pt x="122" y="45"/>
                        </a:lnTo>
                        <a:lnTo>
                          <a:pt x="122" y="64"/>
                        </a:lnTo>
                        <a:lnTo>
                          <a:pt x="141" y="64"/>
                        </a:lnTo>
                        <a:lnTo>
                          <a:pt x="141" y="93"/>
                        </a:lnTo>
                        <a:lnTo>
                          <a:pt x="141" y="122"/>
                        </a:lnTo>
                        <a:lnTo>
                          <a:pt x="122" y="122"/>
                        </a:lnTo>
                        <a:lnTo>
                          <a:pt x="122" y="140"/>
                        </a:lnTo>
                        <a:lnTo>
                          <a:pt x="99" y="140"/>
                        </a:lnTo>
                        <a:lnTo>
                          <a:pt x="99" y="178"/>
                        </a:lnTo>
                        <a:lnTo>
                          <a:pt x="69" y="178"/>
                        </a:lnTo>
                        <a:lnTo>
                          <a:pt x="69" y="186"/>
                        </a:lnTo>
                        <a:lnTo>
                          <a:pt x="31" y="186"/>
                        </a:lnTo>
                        <a:lnTo>
                          <a:pt x="31" y="178"/>
                        </a:lnTo>
                        <a:lnTo>
                          <a:pt x="0" y="178"/>
                        </a:lnTo>
                        <a:lnTo>
                          <a:pt x="0" y="94"/>
                        </a:lnTo>
                        <a:close/>
                      </a:path>
                    </a:pathLst>
                  </a:custGeom>
                  <a:noFill/>
                  <a:ln w="1575">
                    <a:solidFill>
                      <a:srgbClr val="2E1414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2" name="Group 117"/>
                <p:cNvGrpSpPr>
                  <a:grpSpLocks/>
                </p:cNvGrpSpPr>
                <p:nvPr/>
              </p:nvGrpSpPr>
              <p:grpSpPr bwMode="auto">
                <a:xfrm>
                  <a:off x="4107" y="5519"/>
                  <a:ext cx="34" cy="170"/>
                  <a:chOff x="4107" y="2054"/>
                  <a:chExt cx="34" cy="170"/>
                </a:xfrm>
              </p:grpSpPr>
              <p:sp>
                <p:nvSpPr>
                  <p:cNvPr id="545924" name="Freeform 118"/>
                  <p:cNvSpPr>
                    <a:spLocks/>
                  </p:cNvSpPr>
                  <p:nvPr/>
                </p:nvSpPr>
                <p:spPr bwMode="auto">
                  <a:xfrm>
                    <a:off x="4107" y="2054"/>
                    <a:ext cx="34" cy="170"/>
                  </a:xfrm>
                  <a:custGeom>
                    <a:avLst/>
                    <a:gdLst>
                      <a:gd name="T0" fmla="+- 0 4107 4107"/>
                      <a:gd name="T1" fmla="*/ T0 w 34"/>
                      <a:gd name="T2" fmla="+- 0 2054 2054"/>
                      <a:gd name="T3" fmla="*/ 2054 h 170"/>
                      <a:gd name="T4" fmla="+- 0 4107 4107"/>
                      <a:gd name="T5" fmla="*/ T4 w 34"/>
                      <a:gd name="T6" fmla="+- 0 2077 2054"/>
                      <a:gd name="T7" fmla="*/ 2077 h 170"/>
                      <a:gd name="T8" fmla="+- 0 4141 4107"/>
                      <a:gd name="T9" fmla="*/ T8 w 34"/>
                      <a:gd name="T10" fmla="+- 0 2077 2054"/>
                      <a:gd name="T11" fmla="*/ 2077 h 170"/>
                      <a:gd name="T12" fmla="+- 0 4141 4107"/>
                      <a:gd name="T13" fmla="*/ T12 w 34"/>
                      <a:gd name="T14" fmla="+- 0 2139 2054"/>
                      <a:gd name="T15" fmla="*/ 2139 h 170"/>
                      <a:gd name="T16" fmla="+- 0 4141 4107"/>
                      <a:gd name="T17" fmla="*/ T16 w 34"/>
                      <a:gd name="T18" fmla="+- 0 2201 2054"/>
                      <a:gd name="T19" fmla="*/ 2201 h 170"/>
                      <a:gd name="T20" fmla="+- 0 4107 4107"/>
                      <a:gd name="T21" fmla="*/ T20 w 34"/>
                      <a:gd name="T22" fmla="+- 0 2201 2054"/>
                      <a:gd name="T23" fmla="*/ 2201 h 170"/>
                      <a:gd name="T24" fmla="+- 0 4107 4107"/>
                      <a:gd name="T25" fmla="*/ T24 w 34"/>
                      <a:gd name="T26" fmla="+- 0 2224 2054"/>
                      <a:gd name="T27" fmla="*/ 2224 h 170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</a:cxnLst>
                    <a:rect l="0" t="0" r="r" b="b"/>
                    <a:pathLst>
                      <a:path w="34" h="170">
                        <a:moveTo>
                          <a:pt x="0" y="0"/>
                        </a:moveTo>
                        <a:lnTo>
                          <a:pt x="0" y="23"/>
                        </a:lnTo>
                        <a:lnTo>
                          <a:pt x="34" y="23"/>
                        </a:lnTo>
                        <a:lnTo>
                          <a:pt x="34" y="85"/>
                        </a:lnTo>
                        <a:lnTo>
                          <a:pt x="34" y="147"/>
                        </a:lnTo>
                        <a:lnTo>
                          <a:pt x="0" y="147"/>
                        </a:lnTo>
                        <a:lnTo>
                          <a:pt x="0" y="17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3" name="Group 119"/>
                <p:cNvGrpSpPr>
                  <a:grpSpLocks/>
                </p:cNvGrpSpPr>
                <p:nvPr/>
              </p:nvGrpSpPr>
              <p:grpSpPr bwMode="auto">
                <a:xfrm>
                  <a:off x="4090" y="5519"/>
                  <a:ext cx="2" cy="169"/>
                  <a:chOff x="4090" y="2054"/>
                  <a:chExt cx="2" cy="169"/>
                </a:xfrm>
              </p:grpSpPr>
              <p:sp>
                <p:nvSpPr>
                  <p:cNvPr id="545923" name="Freeform 120"/>
                  <p:cNvSpPr>
                    <a:spLocks/>
                  </p:cNvSpPr>
                  <p:nvPr/>
                </p:nvSpPr>
                <p:spPr bwMode="auto">
                  <a:xfrm>
                    <a:off x="4090" y="2054"/>
                    <a:ext cx="2" cy="169"/>
                  </a:xfrm>
                  <a:custGeom>
                    <a:avLst/>
                    <a:gdLst>
                      <a:gd name="T0" fmla="+- 0 2223 2054"/>
                      <a:gd name="T1" fmla="*/ 2223 h 169"/>
                      <a:gd name="T2" fmla="+- 0 2054 2054"/>
                      <a:gd name="T3" fmla="*/ 2054 h 169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169">
                        <a:moveTo>
                          <a:pt x="0" y="169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4" name="Group 121"/>
                <p:cNvGrpSpPr>
                  <a:grpSpLocks/>
                </p:cNvGrpSpPr>
                <p:nvPr/>
              </p:nvGrpSpPr>
              <p:grpSpPr bwMode="auto">
                <a:xfrm>
                  <a:off x="4081" y="5548"/>
                  <a:ext cx="24" cy="142"/>
                  <a:chOff x="4081" y="2083"/>
                  <a:chExt cx="24" cy="142"/>
                </a:xfrm>
              </p:grpSpPr>
              <p:sp>
                <p:nvSpPr>
                  <p:cNvPr id="545971" name="Freeform 122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185 2083"/>
                      <a:gd name="T3" fmla="*/ 2185 h 142"/>
                      <a:gd name="T4" fmla="+- 0 4082 4081"/>
                      <a:gd name="T5" fmla="*/ T4 w 24"/>
                      <a:gd name="T6" fmla="+- 0 2185 2083"/>
                      <a:gd name="T7" fmla="*/ 2185 h 142"/>
                      <a:gd name="T8" fmla="+- 0 4082 4081"/>
                      <a:gd name="T9" fmla="*/ T8 w 24"/>
                      <a:gd name="T10" fmla="+- 0 2225 2083"/>
                      <a:gd name="T11" fmla="*/ 2225 h 142"/>
                      <a:gd name="T12" fmla="+- 0 4082 4081"/>
                      <a:gd name="T13" fmla="*/ T12 w 24"/>
                      <a:gd name="T14" fmla="+- 0 2194 2083"/>
                      <a:gd name="T15" fmla="*/ 2194 h 142"/>
                      <a:gd name="T16" fmla="+- 0 4106 4081"/>
                      <a:gd name="T17" fmla="*/ T16 w 24"/>
                      <a:gd name="T18" fmla="+- 0 2194 2083"/>
                      <a:gd name="T19" fmla="*/ 2194 h 142"/>
                      <a:gd name="T20" fmla="+- 0 4106 4081"/>
                      <a:gd name="T21" fmla="*/ T20 w 24"/>
                      <a:gd name="T22" fmla="+- 0 2185 2083"/>
                      <a:gd name="T23" fmla="*/ 218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</a:cxnLst>
                    <a:rect l="0" t="0" r="r" b="b"/>
                    <a:pathLst>
                      <a:path w="24" h="142">
                        <a:moveTo>
                          <a:pt x="25" y="102"/>
                        </a:moveTo>
                        <a:lnTo>
                          <a:pt x="1" y="102"/>
                        </a:lnTo>
                        <a:lnTo>
                          <a:pt x="1" y="142"/>
                        </a:lnTo>
                        <a:lnTo>
                          <a:pt x="1" y="111"/>
                        </a:lnTo>
                        <a:lnTo>
                          <a:pt x="25" y="111"/>
                        </a:lnTo>
                        <a:lnTo>
                          <a:pt x="25" y="10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3" name="Freeform 123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180 2083"/>
                      <a:gd name="T3" fmla="*/ 2180 h 142"/>
                      <a:gd name="T4" fmla="+- 0 4081 4081"/>
                      <a:gd name="T5" fmla="*/ T4 w 24"/>
                      <a:gd name="T6" fmla="+- 0 2180 2083"/>
                      <a:gd name="T7" fmla="*/ 2180 h 142"/>
                      <a:gd name="T8" fmla="+- 0 4081 4081"/>
                      <a:gd name="T9" fmla="*/ T8 w 24"/>
                      <a:gd name="T10" fmla="+- 0 2185 2083"/>
                      <a:gd name="T11" fmla="*/ 2185 h 142"/>
                      <a:gd name="T12" fmla="+- 0 4082 4081"/>
                      <a:gd name="T13" fmla="*/ T12 w 24"/>
                      <a:gd name="T14" fmla="+- 0 2185 2083"/>
                      <a:gd name="T15" fmla="*/ 2185 h 142"/>
                      <a:gd name="T16" fmla="+- 0 4082 4081"/>
                      <a:gd name="T17" fmla="*/ T16 w 24"/>
                      <a:gd name="T18" fmla="+- 0 2180 2083"/>
                      <a:gd name="T19" fmla="*/ 218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97"/>
                        </a:moveTo>
                        <a:lnTo>
                          <a:pt x="0" y="97"/>
                        </a:lnTo>
                        <a:lnTo>
                          <a:pt x="0" y="102"/>
                        </a:lnTo>
                        <a:lnTo>
                          <a:pt x="1" y="102"/>
                        </a:lnTo>
                        <a:lnTo>
                          <a:pt x="1" y="9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4" name="Freeform 124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171 2083"/>
                      <a:gd name="T3" fmla="*/ 2171 h 142"/>
                      <a:gd name="T4" fmla="+- 0 4082 4081"/>
                      <a:gd name="T5" fmla="*/ T4 w 24"/>
                      <a:gd name="T6" fmla="+- 0 2171 2083"/>
                      <a:gd name="T7" fmla="*/ 2171 h 142"/>
                      <a:gd name="T8" fmla="+- 0 4082 4081"/>
                      <a:gd name="T9" fmla="*/ T8 w 24"/>
                      <a:gd name="T10" fmla="+- 0 2180 2083"/>
                      <a:gd name="T11" fmla="*/ 2180 h 142"/>
                      <a:gd name="T12" fmla="+- 0 4106 4081"/>
                      <a:gd name="T13" fmla="*/ T12 w 24"/>
                      <a:gd name="T14" fmla="+- 0 2180 2083"/>
                      <a:gd name="T15" fmla="*/ 2180 h 142"/>
                      <a:gd name="T16" fmla="+- 0 4106 4081"/>
                      <a:gd name="T17" fmla="*/ T16 w 24"/>
                      <a:gd name="T18" fmla="+- 0 2171 2083"/>
                      <a:gd name="T19" fmla="*/ 217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88"/>
                        </a:moveTo>
                        <a:lnTo>
                          <a:pt x="1" y="88"/>
                        </a:lnTo>
                        <a:lnTo>
                          <a:pt x="1" y="97"/>
                        </a:lnTo>
                        <a:lnTo>
                          <a:pt x="25" y="97"/>
                        </a:lnTo>
                        <a:lnTo>
                          <a:pt x="25" y="8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5" name="Freeform 125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165 2083"/>
                      <a:gd name="T3" fmla="*/ 2165 h 142"/>
                      <a:gd name="T4" fmla="+- 0 4081 4081"/>
                      <a:gd name="T5" fmla="*/ T4 w 24"/>
                      <a:gd name="T6" fmla="+- 0 2165 2083"/>
                      <a:gd name="T7" fmla="*/ 2165 h 142"/>
                      <a:gd name="T8" fmla="+- 0 4081 4081"/>
                      <a:gd name="T9" fmla="*/ T8 w 24"/>
                      <a:gd name="T10" fmla="+- 0 2171 2083"/>
                      <a:gd name="T11" fmla="*/ 2171 h 142"/>
                      <a:gd name="T12" fmla="+- 0 4082 4081"/>
                      <a:gd name="T13" fmla="*/ T12 w 24"/>
                      <a:gd name="T14" fmla="+- 0 2171 2083"/>
                      <a:gd name="T15" fmla="*/ 2171 h 142"/>
                      <a:gd name="T16" fmla="+- 0 4082 4081"/>
                      <a:gd name="T17" fmla="*/ T16 w 24"/>
                      <a:gd name="T18" fmla="+- 0 2165 2083"/>
                      <a:gd name="T19" fmla="*/ 216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82"/>
                        </a:moveTo>
                        <a:lnTo>
                          <a:pt x="0" y="82"/>
                        </a:lnTo>
                        <a:lnTo>
                          <a:pt x="0" y="88"/>
                        </a:lnTo>
                        <a:lnTo>
                          <a:pt x="1" y="88"/>
                        </a:lnTo>
                        <a:lnTo>
                          <a:pt x="1" y="8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6" name="Freeform 126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156 2083"/>
                      <a:gd name="T3" fmla="*/ 2156 h 142"/>
                      <a:gd name="T4" fmla="+- 0 4082 4081"/>
                      <a:gd name="T5" fmla="*/ T4 w 24"/>
                      <a:gd name="T6" fmla="+- 0 2156 2083"/>
                      <a:gd name="T7" fmla="*/ 2156 h 142"/>
                      <a:gd name="T8" fmla="+- 0 4082 4081"/>
                      <a:gd name="T9" fmla="*/ T8 w 24"/>
                      <a:gd name="T10" fmla="+- 0 2165 2083"/>
                      <a:gd name="T11" fmla="*/ 2165 h 142"/>
                      <a:gd name="T12" fmla="+- 0 4106 4081"/>
                      <a:gd name="T13" fmla="*/ T12 w 24"/>
                      <a:gd name="T14" fmla="+- 0 2165 2083"/>
                      <a:gd name="T15" fmla="*/ 2165 h 142"/>
                      <a:gd name="T16" fmla="+- 0 4106 4081"/>
                      <a:gd name="T17" fmla="*/ T16 w 24"/>
                      <a:gd name="T18" fmla="+- 0 2156 2083"/>
                      <a:gd name="T19" fmla="*/ 215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73"/>
                        </a:moveTo>
                        <a:lnTo>
                          <a:pt x="1" y="73"/>
                        </a:lnTo>
                        <a:lnTo>
                          <a:pt x="1" y="82"/>
                        </a:lnTo>
                        <a:lnTo>
                          <a:pt x="25" y="82"/>
                        </a:lnTo>
                        <a:lnTo>
                          <a:pt x="25" y="7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7" name="Freeform 127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150 2083"/>
                      <a:gd name="T3" fmla="*/ 2150 h 142"/>
                      <a:gd name="T4" fmla="+- 0 4081 4081"/>
                      <a:gd name="T5" fmla="*/ T4 w 24"/>
                      <a:gd name="T6" fmla="+- 0 2150 2083"/>
                      <a:gd name="T7" fmla="*/ 2150 h 142"/>
                      <a:gd name="T8" fmla="+- 0 4081 4081"/>
                      <a:gd name="T9" fmla="*/ T8 w 24"/>
                      <a:gd name="T10" fmla="+- 0 2156 2083"/>
                      <a:gd name="T11" fmla="*/ 2156 h 142"/>
                      <a:gd name="T12" fmla="+- 0 4082 4081"/>
                      <a:gd name="T13" fmla="*/ T12 w 24"/>
                      <a:gd name="T14" fmla="+- 0 2156 2083"/>
                      <a:gd name="T15" fmla="*/ 2156 h 142"/>
                      <a:gd name="T16" fmla="+- 0 4082 4081"/>
                      <a:gd name="T17" fmla="*/ T16 w 24"/>
                      <a:gd name="T18" fmla="+- 0 2150 2083"/>
                      <a:gd name="T19" fmla="*/ 215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67"/>
                        </a:moveTo>
                        <a:lnTo>
                          <a:pt x="0" y="67"/>
                        </a:lnTo>
                        <a:lnTo>
                          <a:pt x="0" y="73"/>
                        </a:lnTo>
                        <a:lnTo>
                          <a:pt x="1" y="73"/>
                        </a:lnTo>
                        <a:lnTo>
                          <a:pt x="1" y="6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8" name="Freeform 128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142 2083"/>
                      <a:gd name="T3" fmla="*/ 2142 h 142"/>
                      <a:gd name="T4" fmla="+- 0 4082 4081"/>
                      <a:gd name="T5" fmla="*/ T4 w 24"/>
                      <a:gd name="T6" fmla="+- 0 2142 2083"/>
                      <a:gd name="T7" fmla="*/ 2142 h 142"/>
                      <a:gd name="T8" fmla="+- 0 4082 4081"/>
                      <a:gd name="T9" fmla="*/ T8 w 24"/>
                      <a:gd name="T10" fmla="+- 0 2150 2083"/>
                      <a:gd name="T11" fmla="*/ 2150 h 142"/>
                      <a:gd name="T12" fmla="+- 0 4106 4081"/>
                      <a:gd name="T13" fmla="*/ T12 w 24"/>
                      <a:gd name="T14" fmla="+- 0 2150 2083"/>
                      <a:gd name="T15" fmla="*/ 2150 h 142"/>
                      <a:gd name="T16" fmla="+- 0 4106 4081"/>
                      <a:gd name="T17" fmla="*/ T16 w 24"/>
                      <a:gd name="T18" fmla="+- 0 2142 2083"/>
                      <a:gd name="T19" fmla="*/ 214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59"/>
                        </a:moveTo>
                        <a:lnTo>
                          <a:pt x="1" y="59"/>
                        </a:lnTo>
                        <a:lnTo>
                          <a:pt x="1" y="67"/>
                        </a:lnTo>
                        <a:lnTo>
                          <a:pt x="25" y="67"/>
                        </a:lnTo>
                        <a:lnTo>
                          <a:pt x="25" y="5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79" name="Freeform 129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136 2083"/>
                      <a:gd name="T3" fmla="*/ 2136 h 142"/>
                      <a:gd name="T4" fmla="+- 0 4081 4081"/>
                      <a:gd name="T5" fmla="*/ T4 w 24"/>
                      <a:gd name="T6" fmla="+- 0 2136 2083"/>
                      <a:gd name="T7" fmla="*/ 2136 h 142"/>
                      <a:gd name="T8" fmla="+- 0 4081 4081"/>
                      <a:gd name="T9" fmla="*/ T8 w 24"/>
                      <a:gd name="T10" fmla="+- 0 2142 2083"/>
                      <a:gd name="T11" fmla="*/ 2142 h 142"/>
                      <a:gd name="T12" fmla="+- 0 4082 4081"/>
                      <a:gd name="T13" fmla="*/ T12 w 24"/>
                      <a:gd name="T14" fmla="+- 0 2142 2083"/>
                      <a:gd name="T15" fmla="*/ 2142 h 142"/>
                      <a:gd name="T16" fmla="+- 0 4082 4081"/>
                      <a:gd name="T17" fmla="*/ T16 w 24"/>
                      <a:gd name="T18" fmla="+- 0 2136 2083"/>
                      <a:gd name="T19" fmla="*/ 213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53"/>
                        </a:moveTo>
                        <a:lnTo>
                          <a:pt x="0" y="53"/>
                        </a:lnTo>
                        <a:lnTo>
                          <a:pt x="0" y="59"/>
                        </a:lnTo>
                        <a:lnTo>
                          <a:pt x="1" y="59"/>
                        </a:lnTo>
                        <a:lnTo>
                          <a:pt x="1" y="5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80" name="Freeform 130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127 2083"/>
                      <a:gd name="T3" fmla="*/ 2127 h 142"/>
                      <a:gd name="T4" fmla="+- 0 4082 4081"/>
                      <a:gd name="T5" fmla="*/ T4 w 24"/>
                      <a:gd name="T6" fmla="+- 0 2127 2083"/>
                      <a:gd name="T7" fmla="*/ 2127 h 142"/>
                      <a:gd name="T8" fmla="+- 0 4082 4081"/>
                      <a:gd name="T9" fmla="*/ T8 w 24"/>
                      <a:gd name="T10" fmla="+- 0 2136 2083"/>
                      <a:gd name="T11" fmla="*/ 2136 h 142"/>
                      <a:gd name="T12" fmla="+- 0 4106 4081"/>
                      <a:gd name="T13" fmla="*/ T12 w 24"/>
                      <a:gd name="T14" fmla="+- 0 2136 2083"/>
                      <a:gd name="T15" fmla="*/ 2136 h 142"/>
                      <a:gd name="T16" fmla="+- 0 4106 4081"/>
                      <a:gd name="T17" fmla="*/ T16 w 24"/>
                      <a:gd name="T18" fmla="+- 0 2127 2083"/>
                      <a:gd name="T19" fmla="*/ 212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44"/>
                        </a:moveTo>
                        <a:lnTo>
                          <a:pt x="1" y="44"/>
                        </a:lnTo>
                        <a:lnTo>
                          <a:pt x="1" y="53"/>
                        </a:lnTo>
                        <a:lnTo>
                          <a:pt x="25" y="53"/>
                        </a:lnTo>
                        <a:lnTo>
                          <a:pt x="25" y="4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81" name="Freeform 131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121 2083"/>
                      <a:gd name="T3" fmla="*/ 2121 h 142"/>
                      <a:gd name="T4" fmla="+- 0 4081 4081"/>
                      <a:gd name="T5" fmla="*/ T4 w 24"/>
                      <a:gd name="T6" fmla="+- 0 2121 2083"/>
                      <a:gd name="T7" fmla="*/ 2121 h 142"/>
                      <a:gd name="T8" fmla="+- 0 4081 4081"/>
                      <a:gd name="T9" fmla="*/ T8 w 24"/>
                      <a:gd name="T10" fmla="+- 0 2127 2083"/>
                      <a:gd name="T11" fmla="*/ 2127 h 142"/>
                      <a:gd name="T12" fmla="+- 0 4082 4081"/>
                      <a:gd name="T13" fmla="*/ T12 w 24"/>
                      <a:gd name="T14" fmla="+- 0 2127 2083"/>
                      <a:gd name="T15" fmla="*/ 2127 h 142"/>
                      <a:gd name="T16" fmla="+- 0 4082 4081"/>
                      <a:gd name="T17" fmla="*/ T16 w 24"/>
                      <a:gd name="T18" fmla="+- 0 2121 2083"/>
                      <a:gd name="T19" fmla="*/ 212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38"/>
                        </a:moveTo>
                        <a:lnTo>
                          <a:pt x="0" y="38"/>
                        </a:lnTo>
                        <a:lnTo>
                          <a:pt x="0" y="44"/>
                        </a:lnTo>
                        <a:lnTo>
                          <a:pt x="1" y="44"/>
                        </a:lnTo>
                        <a:lnTo>
                          <a:pt x="1" y="3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82" name="Freeform 132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112 2083"/>
                      <a:gd name="T3" fmla="*/ 2112 h 142"/>
                      <a:gd name="T4" fmla="+- 0 4082 4081"/>
                      <a:gd name="T5" fmla="*/ T4 w 24"/>
                      <a:gd name="T6" fmla="+- 0 2112 2083"/>
                      <a:gd name="T7" fmla="*/ 2112 h 142"/>
                      <a:gd name="T8" fmla="+- 0 4082 4081"/>
                      <a:gd name="T9" fmla="*/ T8 w 24"/>
                      <a:gd name="T10" fmla="+- 0 2121 2083"/>
                      <a:gd name="T11" fmla="*/ 2121 h 142"/>
                      <a:gd name="T12" fmla="+- 0 4106 4081"/>
                      <a:gd name="T13" fmla="*/ T12 w 24"/>
                      <a:gd name="T14" fmla="+- 0 2121 2083"/>
                      <a:gd name="T15" fmla="*/ 2121 h 142"/>
                      <a:gd name="T16" fmla="+- 0 4106 4081"/>
                      <a:gd name="T17" fmla="*/ T16 w 24"/>
                      <a:gd name="T18" fmla="+- 0 2112 2083"/>
                      <a:gd name="T19" fmla="*/ 211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29"/>
                        </a:moveTo>
                        <a:lnTo>
                          <a:pt x="1" y="29"/>
                        </a:lnTo>
                        <a:lnTo>
                          <a:pt x="1" y="38"/>
                        </a:lnTo>
                        <a:lnTo>
                          <a:pt x="25" y="38"/>
                        </a:lnTo>
                        <a:lnTo>
                          <a:pt x="25" y="2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83" name="Freeform 133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106 2083"/>
                      <a:gd name="T3" fmla="*/ 2106 h 142"/>
                      <a:gd name="T4" fmla="+- 0 4081 4081"/>
                      <a:gd name="T5" fmla="*/ T4 w 24"/>
                      <a:gd name="T6" fmla="+- 0 2112 2083"/>
                      <a:gd name="T7" fmla="*/ 2112 h 142"/>
                      <a:gd name="T8" fmla="+- 0 4082 4081"/>
                      <a:gd name="T9" fmla="*/ T8 w 24"/>
                      <a:gd name="T10" fmla="+- 0 2112 2083"/>
                      <a:gd name="T11" fmla="*/ 2112 h 142"/>
                      <a:gd name="T12" fmla="+- 0 4082 4081"/>
                      <a:gd name="T13" fmla="*/ T12 w 24"/>
                      <a:gd name="T14" fmla="+- 0 2106 2083"/>
                      <a:gd name="T15" fmla="*/ 210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</a:cxnLst>
                    <a:rect l="0" t="0" r="r" b="b"/>
                    <a:pathLst>
                      <a:path w="24" h="142">
                        <a:moveTo>
                          <a:pt x="1" y="23"/>
                        </a:moveTo>
                        <a:lnTo>
                          <a:pt x="0" y="29"/>
                        </a:lnTo>
                        <a:lnTo>
                          <a:pt x="1" y="29"/>
                        </a:lnTo>
                        <a:lnTo>
                          <a:pt x="1" y="2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20" name="Freeform 134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097 2083"/>
                      <a:gd name="T3" fmla="*/ 2097 h 142"/>
                      <a:gd name="T4" fmla="+- 0 4082 4081"/>
                      <a:gd name="T5" fmla="*/ T4 w 24"/>
                      <a:gd name="T6" fmla="+- 0 2097 2083"/>
                      <a:gd name="T7" fmla="*/ 2097 h 142"/>
                      <a:gd name="T8" fmla="+- 0 4082 4081"/>
                      <a:gd name="T9" fmla="*/ T8 w 24"/>
                      <a:gd name="T10" fmla="+- 0 2106 2083"/>
                      <a:gd name="T11" fmla="*/ 2106 h 142"/>
                      <a:gd name="T12" fmla="+- 0 4106 4081"/>
                      <a:gd name="T13" fmla="*/ T12 w 24"/>
                      <a:gd name="T14" fmla="+- 0 2106 2083"/>
                      <a:gd name="T15" fmla="*/ 2106 h 142"/>
                      <a:gd name="T16" fmla="+- 0 4106 4081"/>
                      <a:gd name="T17" fmla="*/ T16 w 24"/>
                      <a:gd name="T18" fmla="+- 0 2097 2083"/>
                      <a:gd name="T19" fmla="*/ 209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14"/>
                        </a:moveTo>
                        <a:lnTo>
                          <a:pt x="1" y="14"/>
                        </a:lnTo>
                        <a:lnTo>
                          <a:pt x="1" y="23"/>
                        </a:lnTo>
                        <a:lnTo>
                          <a:pt x="25" y="23"/>
                        </a:lnTo>
                        <a:lnTo>
                          <a:pt x="25" y="1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21" name="Freeform 135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091 2083"/>
                      <a:gd name="T3" fmla="*/ 2091 h 142"/>
                      <a:gd name="T4" fmla="+- 0 4081 4081"/>
                      <a:gd name="T5" fmla="*/ T4 w 24"/>
                      <a:gd name="T6" fmla="+- 0 2097 2083"/>
                      <a:gd name="T7" fmla="*/ 2097 h 142"/>
                      <a:gd name="T8" fmla="+- 0 4082 4081"/>
                      <a:gd name="T9" fmla="*/ T8 w 24"/>
                      <a:gd name="T10" fmla="+- 0 2091 2083"/>
                      <a:gd name="T11" fmla="*/ 209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24" h="142">
                        <a:moveTo>
                          <a:pt x="1" y="8"/>
                        </a:moveTo>
                        <a:lnTo>
                          <a:pt x="0" y="14"/>
                        </a:lnTo>
                        <a:lnTo>
                          <a:pt x="1" y="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22" name="Freeform 136"/>
                  <p:cNvSpPr>
                    <a:spLocks/>
                  </p:cNvSpPr>
                  <p:nvPr/>
                </p:nvSpPr>
                <p:spPr bwMode="auto">
                  <a:xfrm>
                    <a:off x="4081" y="208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083 2083"/>
                      <a:gd name="T3" fmla="*/ 2083 h 142"/>
                      <a:gd name="T4" fmla="+- 0 4082 4081"/>
                      <a:gd name="T5" fmla="*/ T4 w 24"/>
                      <a:gd name="T6" fmla="+- 0 2083 2083"/>
                      <a:gd name="T7" fmla="*/ 2083 h 142"/>
                      <a:gd name="T8" fmla="+- 0 4082 4081"/>
                      <a:gd name="T9" fmla="*/ T8 w 24"/>
                      <a:gd name="T10" fmla="+- 0 2091 2083"/>
                      <a:gd name="T11" fmla="*/ 2091 h 142"/>
                      <a:gd name="T12" fmla="+- 0 4106 4081"/>
                      <a:gd name="T13" fmla="*/ T12 w 24"/>
                      <a:gd name="T14" fmla="+- 0 2091 2083"/>
                      <a:gd name="T15" fmla="*/ 2091 h 142"/>
                      <a:gd name="T16" fmla="+- 0 4106 4081"/>
                      <a:gd name="T17" fmla="*/ T16 w 24"/>
                      <a:gd name="T18" fmla="+- 0 2083 2083"/>
                      <a:gd name="T19" fmla="*/ 2083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0"/>
                        </a:moveTo>
                        <a:lnTo>
                          <a:pt x="1" y="0"/>
                        </a:lnTo>
                        <a:lnTo>
                          <a:pt x="1" y="8"/>
                        </a:lnTo>
                        <a:lnTo>
                          <a:pt x="25" y="8"/>
                        </a:lnTo>
                        <a:lnTo>
                          <a:pt x="25" y="0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5" name="Group 137"/>
                <p:cNvGrpSpPr>
                  <a:grpSpLocks/>
                </p:cNvGrpSpPr>
                <p:nvPr/>
              </p:nvGrpSpPr>
              <p:grpSpPr bwMode="auto">
                <a:xfrm>
                  <a:off x="4158" y="5651"/>
                  <a:ext cx="17" cy="37"/>
                  <a:chOff x="4158" y="2186"/>
                  <a:chExt cx="17" cy="37"/>
                </a:xfrm>
              </p:grpSpPr>
              <p:sp>
                <p:nvSpPr>
                  <p:cNvPr id="545970" name="Freeform 138"/>
                  <p:cNvSpPr>
                    <a:spLocks/>
                  </p:cNvSpPr>
                  <p:nvPr/>
                </p:nvSpPr>
                <p:spPr bwMode="auto">
                  <a:xfrm>
                    <a:off x="4158" y="2186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223 2186"/>
                      <a:gd name="T3" fmla="*/ 2223 h 37"/>
                      <a:gd name="T4" fmla="+- 0 4158 4158"/>
                      <a:gd name="T5" fmla="*/ T4 w 17"/>
                      <a:gd name="T6" fmla="+- 0 2186 2186"/>
                      <a:gd name="T7" fmla="*/ 2186 h 37"/>
                      <a:gd name="T8" fmla="+- 0 4175 4158"/>
                      <a:gd name="T9" fmla="*/ T8 w 17"/>
                      <a:gd name="T10" fmla="+- 0 2186 2186"/>
                      <a:gd name="T11" fmla="*/ 2186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37"/>
                        </a:moveTo>
                        <a:lnTo>
                          <a:pt x="0" y="0"/>
                        </a:lnTo>
                        <a:lnTo>
                          <a:pt x="17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6" name="Group 139"/>
                <p:cNvGrpSpPr>
                  <a:grpSpLocks/>
                </p:cNvGrpSpPr>
                <p:nvPr/>
              </p:nvGrpSpPr>
              <p:grpSpPr bwMode="auto">
                <a:xfrm>
                  <a:off x="4158" y="5519"/>
                  <a:ext cx="17" cy="37"/>
                  <a:chOff x="4158" y="2054"/>
                  <a:chExt cx="17" cy="37"/>
                </a:xfrm>
              </p:grpSpPr>
              <p:sp>
                <p:nvSpPr>
                  <p:cNvPr id="545969" name="Freeform 140"/>
                  <p:cNvSpPr>
                    <a:spLocks/>
                  </p:cNvSpPr>
                  <p:nvPr/>
                </p:nvSpPr>
                <p:spPr bwMode="auto">
                  <a:xfrm>
                    <a:off x="4158" y="2054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054 2054"/>
                      <a:gd name="T3" fmla="*/ 2054 h 37"/>
                      <a:gd name="T4" fmla="+- 0 4158 4158"/>
                      <a:gd name="T5" fmla="*/ T4 w 17"/>
                      <a:gd name="T6" fmla="+- 0 2091 2054"/>
                      <a:gd name="T7" fmla="*/ 2091 h 37"/>
                      <a:gd name="T8" fmla="+- 0 4175 4158"/>
                      <a:gd name="T9" fmla="*/ T8 w 17"/>
                      <a:gd name="T10" fmla="+- 0 2091 2054"/>
                      <a:gd name="T11" fmla="*/ 2091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0"/>
                        </a:moveTo>
                        <a:lnTo>
                          <a:pt x="0" y="37"/>
                        </a:lnTo>
                        <a:lnTo>
                          <a:pt x="17" y="37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7" name="Group 141"/>
                <p:cNvGrpSpPr>
                  <a:grpSpLocks/>
                </p:cNvGrpSpPr>
                <p:nvPr/>
              </p:nvGrpSpPr>
              <p:grpSpPr bwMode="auto">
                <a:xfrm>
                  <a:off x="4188" y="5556"/>
                  <a:ext cx="2" cy="96"/>
                  <a:chOff x="4188" y="2091"/>
                  <a:chExt cx="2" cy="96"/>
                </a:xfrm>
              </p:grpSpPr>
              <p:sp>
                <p:nvSpPr>
                  <p:cNvPr id="545968" name="Freeform 142"/>
                  <p:cNvSpPr>
                    <a:spLocks/>
                  </p:cNvSpPr>
                  <p:nvPr/>
                </p:nvSpPr>
                <p:spPr bwMode="auto">
                  <a:xfrm>
                    <a:off x="4188" y="2091"/>
                    <a:ext cx="2" cy="96"/>
                  </a:xfrm>
                  <a:custGeom>
                    <a:avLst/>
                    <a:gdLst>
                      <a:gd name="T0" fmla="+- 0 2187 2091"/>
                      <a:gd name="T1" fmla="*/ 2187 h 96"/>
                      <a:gd name="T2" fmla="+- 0 2091 2091"/>
                      <a:gd name="T3" fmla="*/ 2091 h 96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96">
                        <a:moveTo>
                          <a:pt x="0" y="96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8" name="Group 143"/>
                <p:cNvGrpSpPr>
                  <a:grpSpLocks/>
                </p:cNvGrpSpPr>
                <p:nvPr/>
              </p:nvGrpSpPr>
              <p:grpSpPr bwMode="auto">
                <a:xfrm>
                  <a:off x="4193" y="5732"/>
                  <a:ext cx="28" cy="57"/>
                  <a:chOff x="4193" y="2267"/>
                  <a:chExt cx="28" cy="57"/>
                </a:xfrm>
              </p:grpSpPr>
              <p:sp>
                <p:nvSpPr>
                  <p:cNvPr id="545967" name="Freeform 144"/>
                  <p:cNvSpPr>
                    <a:spLocks/>
                  </p:cNvSpPr>
                  <p:nvPr/>
                </p:nvSpPr>
                <p:spPr bwMode="auto">
                  <a:xfrm>
                    <a:off x="4193" y="2267"/>
                    <a:ext cx="28" cy="57"/>
                  </a:xfrm>
                  <a:custGeom>
                    <a:avLst/>
                    <a:gdLst>
                      <a:gd name="T0" fmla="+- 0 4220 4193"/>
                      <a:gd name="T1" fmla="*/ T0 w 28"/>
                      <a:gd name="T2" fmla="+- 0 2267 2267"/>
                      <a:gd name="T3" fmla="*/ 2267 h 57"/>
                      <a:gd name="T4" fmla="+- 0 4194 4193"/>
                      <a:gd name="T5" fmla="*/ T4 w 28"/>
                      <a:gd name="T6" fmla="+- 0 2267 2267"/>
                      <a:gd name="T7" fmla="*/ 2267 h 57"/>
                      <a:gd name="T8" fmla="+- 0 4193 4193"/>
                      <a:gd name="T9" fmla="*/ T8 w 28"/>
                      <a:gd name="T10" fmla="+- 0 2268 2267"/>
                      <a:gd name="T11" fmla="*/ 2268 h 57"/>
                      <a:gd name="T12" fmla="+- 0 4193 4193"/>
                      <a:gd name="T13" fmla="*/ T12 w 28"/>
                      <a:gd name="T14" fmla="+- 0 2324 2267"/>
                      <a:gd name="T15" fmla="*/ 2324 h 57"/>
                      <a:gd name="T16" fmla="+- 0 4194 4193"/>
                      <a:gd name="T17" fmla="*/ T16 w 28"/>
                      <a:gd name="T18" fmla="+- 0 2324 2267"/>
                      <a:gd name="T19" fmla="*/ 2324 h 57"/>
                      <a:gd name="T20" fmla="+- 0 4220 4193"/>
                      <a:gd name="T21" fmla="*/ T20 w 28"/>
                      <a:gd name="T22" fmla="+- 0 2324 2267"/>
                      <a:gd name="T23" fmla="*/ 2324 h 57"/>
                      <a:gd name="T24" fmla="+- 0 4220 4193"/>
                      <a:gd name="T25" fmla="*/ T24 w 28"/>
                      <a:gd name="T26" fmla="+- 0 2324 2267"/>
                      <a:gd name="T27" fmla="*/ 2324 h 57"/>
                      <a:gd name="T28" fmla="+- 0 4220 4193"/>
                      <a:gd name="T29" fmla="*/ T28 w 28"/>
                      <a:gd name="T30" fmla="+- 0 2268 2267"/>
                      <a:gd name="T31" fmla="*/ 2268 h 57"/>
                      <a:gd name="T32" fmla="+- 0 4220 4193"/>
                      <a:gd name="T33" fmla="*/ T32 w 28"/>
                      <a:gd name="T34" fmla="+- 0 2267 2267"/>
                      <a:gd name="T35" fmla="*/ 2267 h 5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28" h="57">
                        <a:moveTo>
                          <a:pt x="27" y="0"/>
                        </a:move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57"/>
                        </a:lnTo>
                        <a:lnTo>
                          <a:pt x="1" y="57"/>
                        </a:lnTo>
                        <a:lnTo>
                          <a:pt x="27" y="57"/>
                        </a:lnTo>
                        <a:lnTo>
                          <a:pt x="27" y="1"/>
                        </a:lnTo>
                        <a:lnTo>
                          <a:pt x="27" y="0"/>
                        </a:lnTo>
                        <a:close/>
                      </a:path>
                    </a:pathLst>
                  </a:custGeom>
                  <a:solidFill>
                    <a:srgbClr val="1D1D1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79" name="Group 145"/>
                <p:cNvGrpSpPr>
                  <a:grpSpLocks/>
                </p:cNvGrpSpPr>
                <p:nvPr/>
              </p:nvGrpSpPr>
              <p:grpSpPr bwMode="auto">
                <a:xfrm>
                  <a:off x="4204" y="5747"/>
                  <a:ext cx="6" cy="6"/>
                  <a:chOff x="4204" y="2282"/>
                  <a:chExt cx="6" cy="6"/>
                </a:xfrm>
              </p:grpSpPr>
              <p:sp>
                <p:nvSpPr>
                  <p:cNvPr id="545966" name="Freeform 146"/>
                  <p:cNvSpPr>
                    <a:spLocks/>
                  </p:cNvSpPr>
                  <p:nvPr/>
                </p:nvSpPr>
                <p:spPr bwMode="auto">
                  <a:xfrm>
                    <a:off x="4204" y="2282"/>
                    <a:ext cx="6" cy="6"/>
                  </a:xfrm>
                  <a:custGeom>
                    <a:avLst/>
                    <a:gdLst>
                      <a:gd name="T0" fmla="+- 0 4208 4204"/>
                      <a:gd name="T1" fmla="*/ T0 w 6"/>
                      <a:gd name="T2" fmla="+- 0 2282 2282"/>
                      <a:gd name="T3" fmla="*/ 2282 h 6"/>
                      <a:gd name="T4" fmla="+- 0 4205 4204"/>
                      <a:gd name="T5" fmla="*/ T4 w 6"/>
                      <a:gd name="T6" fmla="+- 0 2282 2282"/>
                      <a:gd name="T7" fmla="*/ 2282 h 6"/>
                      <a:gd name="T8" fmla="+- 0 4204 4204"/>
                      <a:gd name="T9" fmla="*/ T8 w 6"/>
                      <a:gd name="T10" fmla="+- 0 2284 2282"/>
                      <a:gd name="T11" fmla="*/ 2284 h 6"/>
                      <a:gd name="T12" fmla="+- 0 4204 4204"/>
                      <a:gd name="T13" fmla="*/ T12 w 6"/>
                      <a:gd name="T14" fmla="+- 0 2287 2282"/>
                      <a:gd name="T15" fmla="*/ 2287 h 6"/>
                      <a:gd name="T16" fmla="+- 0 4205 4204"/>
                      <a:gd name="T17" fmla="*/ T16 w 6"/>
                      <a:gd name="T18" fmla="+- 0 2288 2282"/>
                      <a:gd name="T19" fmla="*/ 2288 h 6"/>
                      <a:gd name="T20" fmla="+- 0 4208 4204"/>
                      <a:gd name="T21" fmla="*/ T20 w 6"/>
                      <a:gd name="T22" fmla="+- 0 2288 2282"/>
                      <a:gd name="T23" fmla="*/ 2288 h 6"/>
                      <a:gd name="T24" fmla="+- 0 4210 4204"/>
                      <a:gd name="T25" fmla="*/ T24 w 6"/>
                      <a:gd name="T26" fmla="+- 0 2287 2282"/>
                      <a:gd name="T27" fmla="*/ 2287 h 6"/>
                      <a:gd name="T28" fmla="+- 0 4210 4204"/>
                      <a:gd name="T29" fmla="*/ T28 w 6"/>
                      <a:gd name="T30" fmla="+- 0 2284 2282"/>
                      <a:gd name="T31" fmla="*/ 2284 h 6"/>
                      <a:gd name="T32" fmla="+- 0 4208 4204"/>
                      <a:gd name="T33" fmla="*/ T32 w 6"/>
                      <a:gd name="T34" fmla="+- 0 2282 2282"/>
                      <a:gd name="T35" fmla="*/ 2282 h 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6" h="6">
                        <a:moveTo>
                          <a:pt x="4" y="0"/>
                        </a:moveTo>
                        <a:lnTo>
                          <a:pt x="1" y="0"/>
                        </a:lnTo>
                        <a:lnTo>
                          <a:pt x="0" y="2"/>
                        </a:lnTo>
                        <a:lnTo>
                          <a:pt x="0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6" y="5"/>
                        </a:lnTo>
                        <a:lnTo>
                          <a:pt x="6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939" name="Picture 147"/>
                  <p:cNvPicPr>
                    <a:picLocks noChangeAspect="1" noChangeArrowheads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76" y="2286"/>
                    <a:ext cx="69" cy="18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80" name="Group 148"/>
                <p:cNvGrpSpPr>
                  <a:grpSpLocks/>
                </p:cNvGrpSpPr>
                <p:nvPr/>
              </p:nvGrpSpPr>
              <p:grpSpPr bwMode="auto">
                <a:xfrm>
                  <a:off x="4076" y="5751"/>
                  <a:ext cx="141" cy="186"/>
                  <a:chOff x="4076" y="2286"/>
                  <a:chExt cx="141" cy="186"/>
                </a:xfrm>
              </p:grpSpPr>
              <p:sp>
                <p:nvSpPr>
                  <p:cNvPr id="545965" name="Freeform 149"/>
                  <p:cNvSpPr>
                    <a:spLocks/>
                  </p:cNvSpPr>
                  <p:nvPr/>
                </p:nvSpPr>
                <p:spPr bwMode="auto">
                  <a:xfrm>
                    <a:off x="4076" y="2286"/>
                    <a:ext cx="141" cy="186"/>
                  </a:xfrm>
                  <a:custGeom>
                    <a:avLst/>
                    <a:gdLst>
                      <a:gd name="T0" fmla="+- 0 4076 4076"/>
                      <a:gd name="T1" fmla="*/ T0 w 141"/>
                      <a:gd name="T2" fmla="+- 0 2380 2286"/>
                      <a:gd name="T3" fmla="*/ 2380 h 186"/>
                      <a:gd name="T4" fmla="+- 0 4076 4076"/>
                      <a:gd name="T5" fmla="*/ T4 w 141"/>
                      <a:gd name="T6" fmla="+- 0 2294 2286"/>
                      <a:gd name="T7" fmla="*/ 2294 h 186"/>
                      <a:gd name="T8" fmla="+- 0 4107 4076"/>
                      <a:gd name="T9" fmla="*/ T8 w 141"/>
                      <a:gd name="T10" fmla="+- 0 2294 2286"/>
                      <a:gd name="T11" fmla="*/ 2294 h 186"/>
                      <a:gd name="T12" fmla="+- 0 4107 4076"/>
                      <a:gd name="T13" fmla="*/ T12 w 141"/>
                      <a:gd name="T14" fmla="+- 0 2286 2286"/>
                      <a:gd name="T15" fmla="*/ 2286 h 186"/>
                      <a:gd name="T16" fmla="+- 0 4145 4076"/>
                      <a:gd name="T17" fmla="*/ T16 w 141"/>
                      <a:gd name="T18" fmla="+- 0 2286 2286"/>
                      <a:gd name="T19" fmla="*/ 2286 h 186"/>
                      <a:gd name="T20" fmla="+- 0 4145 4076"/>
                      <a:gd name="T21" fmla="*/ T20 w 141"/>
                      <a:gd name="T22" fmla="+- 0 2294 2286"/>
                      <a:gd name="T23" fmla="*/ 2294 h 186"/>
                      <a:gd name="T24" fmla="+- 0 4175 4076"/>
                      <a:gd name="T25" fmla="*/ T24 w 141"/>
                      <a:gd name="T26" fmla="+- 0 2294 2286"/>
                      <a:gd name="T27" fmla="*/ 2294 h 186"/>
                      <a:gd name="T28" fmla="+- 0 4175 4076"/>
                      <a:gd name="T29" fmla="*/ T28 w 141"/>
                      <a:gd name="T30" fmla="+- 0 2331 2286"/>
                      <a:gd name="T31" fmla="*/ 2331 h 186"/>
                      <a:gd name="T32" fmla="+- 0 4198 4076"/>
                      <a:gd name="T33" fmla="*/ T32 w 141"/>
                      <a:gd name="T34" fmla="+- 0 2331 2286"/>
                      <a:gd name="T35" fmla="*/ 2331 h 186"/>
                      <a:gd name="T36" fmla="+- 0 4198 4076"/>
                      <a:gd name="T37" fmla="*/ T36 w 141"/>
                      <a:gd name="T38" fmla="+- 0 2350 2286"/>
                      <a:gd name="T39" fmla="*/ 2350 h 186"/>
                      <a:gd name="T40" fmla="+- 0 4217 4076"/>
                      <a:gd name="T41" fmla="*/ T40 w 141"/>
                      <a:gd name="T42" fmla="+- 0 2350 2286"/>
                      <a:gd name="T43" fmla="*/ 2350 h 186"/>
                      <a:gd name="T44" fmla="+- 0 4217 4076"/>
                      <a:gd name="T45" fmla="*/ T44 w 141"/>
                      <a:gd name="T46" fmla="+- 0 2379 2286"/>
                      <a:gd name="T47" fmla="*/ 2379 h 186"/>
                      <a:gd name="T48" fmla="+- 0 4217 4076"/>
                      <a:gd name="T49" fmla="*/ T48 w 141"/>
                      <a:gd name="T50" fmla="+- 0 2408 2286"/>
                      <a:gd name="T51" fmla="*/ 2408 h 186"/>
                      <a:gd name="T52" fmla="+- 0 4198 4076"/>
                      <a:gd name="T53" fmla="*/ T52 w 141"/>
                      <a:gd name="T54" fmla="+- 0 2408 2286"/>
                      <a:gd name="T55" fmla="*/ 2408 h 186"/>
                      <a:gd name="T56" fmla="+- 0 4198 4076"/>
                      <a:gd name="T57" fmla="*/ T56 w 141"/>
                      <a:gd name="T58" fmla="+- 0 2426 2286"/>
                      <a:gd name="T59" fmla="*/ 2426 h 186"/>
                      <a:gd name="T60" fmla="+- 0 4175 4076"/>
                      <a:gd name="T61" fmla="*/ T60 w 141"/>
                      <a:gd name="T62" fmla="+- 0 2426 2286"/>
                      <a:gd name="T63" fmla="*/ 2426 h 186"/>
                      <a:gd name="T64" fmla="+- 0 4175 4076"/>
                      <a:gd name="T65" fmla="*/ T64 w 141"/>
                      <a:gd name="T66" fmla="+- 0 2464 2286"/>
                      <a:gd name="T67" fmla="*/ 2464 h 186"/>
                      <a:gd name="T68" fmla="+- 0 4145 4076"/>
                      <a:gd name="T69" fmla="*/ T68 w 141"/>
                      <a:gd name="T70" fmla="+- 0 2464 2286"/>
                      <a:gd name="T71" fmla="*/ 2464 h 186"/>
                      <a:gd name="T72" fmla="+- 0 4145 4076"/>
                      <a:gd name="T73" fmla="*/ T72 w 141"/>
                      <a:gd name="T74" fmla="+- 0 2472 2286"/>
                      <a:gd name="T75" fmla="*/ 2472 h 186"/>
                      <a:gd name="T76" fmla="+- 0 4107 4076"/>
                      <a:gd name="T77" fmla="*/ T76 w 141"/>
                      <a:gd name="T78" fmla="+- 0 2472 2286"/>
                      <a:gd name="T79" fmla="*/ 2472 h 186"/>
                      <a:gd name="T80" fmla="+- 0 4107 4076"/>
                      <a:gd name="T81" fmla="*/ T80 w 141"/>
                      <a:gd name="T82" fmla="+- 0 2464 2286"/>
                      <a:gd name="T83" fmla="*/ 2464 h 186"/>
                      <a:gd name="T84" fmla="+- 0 4076 4076"/>
                      <a:gd name="T85" fmla="*/ T84 w 141"/>
                      <a:gd name="T86" fmla="+- 0 2464 2286"/>
                      <a:gd name="T87" fmla="*/ 2464 h 186"/>
                      <a:gd name="T88" fmla="+- 0 4076 4076"/>
                      <a:gd name="T89" fmla="*/ T88 w 141"/>
                      <a:gd name="T90" fmla="+- 0 2380 2286"/>
                      <a:gd name="T91" fmla="*/ 2380 h 18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  <a:cxn ang="0">
                        <a:pos x="T69" y="T71"/>
                      </a:cxn>
                      <a:cxn ang="0">
                        <a:pos x="T73" y="T75"/>
                      </a:cxn>
                      <a:cxn ang="0">
                        <a:pos x="T77" y="T79"/>
                      </a:cxn>
                      <a:cxn ang="0">
                        <a:pos x="T81" y="T83"/>
                      </a:cxn>
                      <a:cxn ang="0">
                        <a:pos x="T85" y="T87"/>
                      </a:cxn>
                      <a:cxn ang="0">
                        <a:pos x="T89" y="T91"/>
                      </a:cxn>
                    </a:cxnLst>
                    <a:rect l="0" t="0" r="r" b="b"/>
                    <a:pathLst>
                      <a:path w="141" h="186">
                        <a:moveTo>
                          <a:pt x="0" y="94"/>
                        </a:moveTo>
                        <a:lnTo>
                          <a:pt x="0" y="8"/>
                        </a:lnTo>
                        <a:lnTo>
                          <a:pt x="31" y="8"/>
                        </a:lnTo>
                        <a:lnTo>
                          <a:pt x="31" y="0"/>
                        </a:lnTo>
                        <a:lnTo>
                          <a:pt x="69" y="0"/>
                        </a:lnTo>
                        <a:lnTo>
                          <a:pt x="69" y="8"/>
                        </a:lnTo>
                        <a:lnTo>
                          <a:pt x="99" y="8"/>
                        </a:lnTo>
                        <a:lnTo>
                          <a:pt x="99" y="45"/>
                        </a:lnTo>
                        <a:lnTo>
                          <a:pt x="122" y="45"/>
                        </a:lnTo>
                        <a:lnTo>
                          <a:pt x="122" y="64"/>
                        </a:lnTo>
                        <a:lnTo>
                          <a:pt x="141" y="64"/>
                        </a:lnTo>
                        <a:lnTo>
                          <a:pt x="141" y="93"/>
                        </a:lnTo>
                        <a:lnTo>
                          <a:pt x="141" y="122"/>
                        </a:lnTo>
                        <a:lnTo>
                          <a:pt x="122" y="122"/>
                        </a:lnTo>
                        <a:lnTo>
                          <a:pt x="122" y="140"/>
                        </a:lnTo>
                        <a:lnTo>
                          <a:pt x="99" y="140"/>
                        </a:lnTo>
                        <a:lnTo>
                          <a:pt x="99" y="178"/>
                        </a:lnTo>
                        <a:lnTo>
                          <a:pt x="69" y="178"/>
                        </a:lnTo>
                        <a:lnTo>
                          <a:pt x="69" y="186"/>
                        </a:lnTo>
                        <a:lnTo>
                          <a:pt x="31" y="186"/>
                        </a:lnTo>
                        <a:lnTo>
                          <a:pt x="31" y="178"/>
                        </a:lnTo>
                        <a:lnTo>
                          <a:pt x="0" y="178"/>
                        </a:lnTo>
                        <a:lnTo>
                          <a:pt x="0" y="94"/>
                        </a:lnTo>
                        <a:close/>
                      </a:path>
                    </a:pathLst>
                  </a:custGeom>
                  <a:noFill/>
                  <a:ln w="1575">
                    <a:solidFill>
                      <a:srgbClr val="2E1414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1" name="Group 150"/>
                <p:cNvGrpSpPr>
                  <a:grpSpLocks/>
                </p:cNvGrpSpPr>
                <p:nvPr/>
              </p:nvGrpSpPr>
              <p:grpSpPr bwMode="auto">
                <a:xfrm>
                  <a:off x="4107" y="5759"/>
                  <a:ext cx="34" cy="170"/>
                  <a:chOff x="4107" y="2294"/>
                  <a:chExt cx="34" cy="170"/>
                </a:xfrm>
              </p:grpSpPr>
              <p:sp>
                <p:nvSpPr>
                  <p:cNvPr id="545964" name="Freeform 151"/>
                  <p:cNvSpPr>
                    <a:spLocks/>
                  </p:cNvSpPr>
                  <p:nvPr/>
                </p:nvSpPr>
                <p:spPr bwMode="auto">
                  <a:xfrm>
                    <a:off x="4107" y="2294"/>
                    <a:ext cx="34" cy="170"/>
                  </a:xfrm>
                  <a:custGeom>
                    <a:avLst/>
                    <a:gdLst>
                      <a:gd name="T0" fmla="+- 0 4107 4107"/>
                      <a:gd name="T1" fmla="*/ T0 w 34"/>
                      <a:gd name="T2" fmla="+- 0 2294 2294"/>
                      <a:gd name="T3" fmla="*/ 2294 h 170"/>
                      <a:gd name="T4" fmla="+- 0 4107 4107"/>
                      <a:gd name="T5" fmla="*/ T4 w 34"/>
                      <a:gd name="T6" fmla="+- 0 2317 2294"/>
                      <a:gd name="T7" fmla="*/ 2317 h 170"/>
                      <a:gd name="T8" fmla="+- 0 4141 4107"/>
                      <a:gd name="T9" fmla="*/ T8 w 34"/>
                      <a:gd name="T10" fmla="+- 0 2317 2294"/>
                      <a:gd name="T11" fmla="*/ 2317 h 170"/>
                      <a:gd name="T12" fmla="+- 0 4141 4107"/>
                      <a:gd name="T13" fmla="*/ T12 w 34"/>
                      <a:gd name="T14" fmla="+- 0 2379 2294"/>
                      <a:gd name="T15" fmla="*/ 2379 h 170"/>
                      <a:gd name="T16" fmla="+- 0 4141 4107"/>
                      <a:gd name="T17" fmla="*/ T16 w 34"/>
                      <a:gd name="T18" fmla="+- 0 2441 2294"/>
                      <a:gd name="T19" fmla="*/ 2441 h 170"/>
                      <a:gd name="T20" fmla="+- 0 4107 4107"/>
                      <a:gd name="T21" fmla="*/ T20 w 34"/>
                      <a:gd name="T22" fmla="+- 0 2441 2294"/>
                      <a:gd name="T23" fmla="*/ 2441 h 170"/>
                      <a:gd name="T24" fmla="+- 0 4107 4107"/>
                      <a:gd name="T25" fmla="*/ T24 w 34"/>
                      <a:gd name="T26" fmla="+- 0 2464 2294"/>
                      <a:gd name="T27" fmla="*/ 2464 h 170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</a:cxnLst>
                    <a:rect l="0" t="0" r="r" b="b"/>
                    <a:pathLst>
                      <a:path w="34" h="170">
                        <a:moveTo>
                          <a:pt x="0" y="0"/>
                        </a:moveTo>
                        <a:lnTo>
                          <a:pt x="0" y="23"/>
                        </a:lnTo>
                        <a:lnTo>
                          <a:pt x="34" y="23"/>
                        </a:lnTo>
                        <a:lnTo>
                          <a:pt x="34" y="85"/>
                        </a:lnTo>
                        <a:lnTo>
                          <a:pt x="34" y="147"/>
                        </a:lnTo>
                        <a:lnTo>
                          <a:pt x="0" y="147"/>
                        </a:lnTo>
                        <a:lnTo>
                          <a:pt x="0" y="17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2" name="Group 152"/>
                <p:cNvGrpSpPr>
                  <a:grpSpLocks/>
                </p:cNvGrpSpPr>
                <p:nvPr/>
              </p:nvGrpSpPr>
              <p:grpSpPr bwMode="auto">
                <a:xfrm>
                  <a:off x="4090" y="5759"/>
                  <a:ext cx="2" cy="169"/>
                  <a:chOff x="4090" y="2294"/>
                  <a:chExt cx="2" cy="169"/>
                </a:xfrm>
              </p:grpSpPr>
              <p:sp>
                <p:nvSpPr>
                  <p:cNvPr id="545963" name="Freeform 153"/>
                  <p:cNvSpPr>
                    <a:spLocks/>
                  </p:cNvSpPr>
                  <p:nvPr/>
                </p:nvSpPr>
                <p:spPr bwMode="auto">
                  <a:xfrm>
                    <a:off x="4090" y="2294"/>
                    <a:ext cx="2" cy="169"/>
                  </a:xfrm>
                  <a:custGeom>
                    <a:avLst/>
                    <a:gdLst>
                      <a:gd name="T0" fmla="+- 0 2463 2294"/>
                      <a:gd name="T1" fmla="*/ 2463 h 169"/>
                      <a:gd name="T2" fmla="+- 0 2294 2294"/>
                      <a:gd name="T3" fmla="*/ 2294 h 169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169">
                        <a:moveTo>
                          <a:pt x="0" y="169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3" name="Group 154"/>
                <p:cNvGrpSpPr>
                  <a:grpSpLocks/>
                </p:cNvGrpSpPr>
                <p:nvPr/>
              </p:nvGrpSpPr>
              <p:grpSpPr bwMode="auto">
                <a:xfrm>
                  <a:off x="4081" y="5788"/>
                  <a:ext cx="24" cy="142"/>
                  <a:chOff x="4081" y="2323"/>
                  <a:chExt cx="24" cy="142"/>
                </a:xfrm>
              </p:grpSpPr>
              <p:sp>
                <p:nvSpPr>
                  <p:cNvPr id="546012" name="Freeform 155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425 2323"/>
                      <a:gd name="T3" fmla="*/ 2425 h 142"/>
                      <a:gd name="T4" fmla="+- 0 4082 4081"/>
                      <a:gd name="T5" fmla="*/ T4 w 24"/>
                      <a:gd name="T6" fmla="+- 0 2425 2323"/>
                      <a:gd name="T7" fmla="*/ 2425 h 142"/>
                      <a:gd name="T8" fmla="+- 0 4082 4081"/>
                      <a:gd name="T9" fmla="*/ T8 w 24"/>
                      <a:gd name="T10" fmla="+- 0 2465 2323"/>
                      <a:gd name="T11" fmla="*/ 2465 h 142"/>
                      <a:gd name="T12" fmla="+- 0 4082 4081"/>
                      <a:gd name="T13" fmla="*/ T12 w 24"/>
                      <a:gd name="T14" fmla="+- 0 2434 2323"/>
                      <a:gd name="T15" fmla="*/ 2434 h 142"/>
                      <a:gd name="T16" fmla="+- 0 4106 4081"/>
                      <a:gd name="T17" fmla="*/ T16 w 24"/>
                      <a:gd name="T18" fmla="+- 0 2434 2323"/>
                      <a:gd name="T19" fmla="*/ 2434 h 142"/>
                      <a:gd name="T20" fmla="+- 0 4106 4081"/>
                      <a:gd name="T21" fmla="*/ T20 w 24"/>
                      <a:gd name="T22" fmla="+- 0 2425 2323"/>
                      <a:gd name="T23" fmla="*/ 242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</a:cxnLst>
                    <a:rect l="0" t="0" r="r" b="b"/>
                    <a:pathLst>
                      <a:path w="24" h="142">
                        <a:moveTo>
                          <a:pt x="25" y="102"/>
                        </a:moveTo>
                        <a:lnTo>
                          <a:pt x="1" y="102"/>
                        </a:lnTo>
                        <a:lnTo>
                          <a:pt x="1" y="142"/>
                        </a:lnTo>
                        <a:lnTo>
                          <a:pt x="1" y="111"/>
                        </a:lnTo>
                        <a:lnTo>
                          <a:pt x="25" y="111"/>
                        </a:lnTo>
                        <a:lnTo>
                          <a:pt x="25" y="10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6013" name="Freeform 156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420 2323"/>
                      <a:gd name="T3" fmla="*/ 2420 h 142"/>
                      <a:gd name="T4" fmla="+- 0 4081 4081"/>
                      <a:gd name="T5" fmla="*/ T4 w 24"/>
                      <a:gd name="T6" fmla="+- 0 2420 2323"/>
                      <a:gd name="T7" fmla="*/ 2420 h 142"/>
                      <a:gd name="T8" fmla="+- 0 4081 4081"/>
                      <a:gd name="T9" fmla="*/ T8 w 24"/>
                      <a:gd name="T10" fmla="+- 0 2425 2323"/>
                      <a:gd name="T11" fmla="*/ 2425 h 142"/>
                      <a:gd name="T12" fmla="+- 0 4082 4081"/>
                      <a:gd name="T13" fmla="*/ T12 w 24"/>
                      <a:gd name="T14" fmla="+- 0 2425 2323"/>
                      <a:gd name="T15" fmla="*/ 2425 h 142"/>
                      <a:gd name="T16" fmla="+- 0 4082 4081"/>
                      <a:gd name="T17" fmla="*/ T16 w 24"/>
                      <a:gd name="T18" fmla="+- 0 2420 2323"/>
                      <a:gd name="T19" fmla="*/ 242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97"/>
                        </a:moveTo>
                        <a:lnTo>
                          <a:pt x="0" y="97"/>
                        </a:lnTo>
                        <a:lnTo>
                          <a:pt x="0" y="102"/>
                        </a:lnTo>
                        <a:lnTo>
                          <a:pt x="1" y="102"/>
                        </a:lnTo>
                        <a:lnTo>
                          <a:pt x="1" y="9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6014" name="Freeform 157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411 2323"/>
                      <a:gd name="T3" fmla="*/ 2411 h 142"/>
                      <a:gd name="T4" fmla="+- 0 4082 4081"/>
                      <a:gd name="T5" fmla="*/ T4 w 24"/>
                      <a:gd name="T6" fmla="+- 0 2411 2323"/>
                      <a:gd name="T7" fmla="*/ 2411 h 142"/>
                      <a:gd name="T8" fmla="+- 0 4082 4081"/>
                      <a:gd name="T9" fmla="*/ T8 w 24"/>
                      <a:gd name="T10" fmla="+- 0 2420 2323"/>
                      <a:gd name="T11" fmla="*/ 2420 h 142"/>
                      <a:gd name="T12" fmla="+- 0 4106 4081"/>
                      <a:gd name="T13" fmla="*/ T12 w 24"/>
                      <a:gd name="T14" fmla="+- 0 2420 2323"/>
                      <a:gd name="T15" fmla="*/ 2420 h 142"/>
                      <a:gd name="T16" fmla="+- 0 4106 4081"/>
                      <a:gd name="T17" fmla="*/ T16 w 24"/>
                      <a:gd name="T18" fmla="+- 0 2411 2323"/>
                      <a:gd name="T19" fmla="*/ 241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88"/>
                        </a:moveTo>
                        <a:lnTo>
                          <a:pt x="1" y="88"/>
                        </a:lnTo>
                        <a:lnTo>
                          <a:pt x="1" y="97"/>
                        </a:lnTo>
                        <a:lnTo>
                          <a:pt x="25" y="97"/>
                        </a:lnTo>
                        <a:lnTo>
                          <a:pt x="25" y="8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6015" name="Freeform 158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405 2323"/>
                      <a:gd name="T3" fmla="*/ 2405 h 142"/>
                      <a:gd name="T4" fmla="+- 0 4081 4081"/>
                      <a:gd name="T5" fmla="*/ T4 w 24"/>
                      <a:gd name="T6" fmla="+- 0 2405 2323"/>
                      <a:gd name="T7" fmla="*/ 2405 h 142"/>
                      <a:gd name="T8" fmla="+- 0 4081 4081"/>
                      <a:gd name="T9" fmla="*/ T8 w 24"/>
                      <a:gd name="T10" fmla="+- 0 2411 2323"/>
                      <a:gd name="T11" fmla="*/ 2411 h 142"/>
                      <a:gd name="T12" fmla="+- 0 4082 4081"/>
                      <a:gd name="T13" fmla="*/ T12 w 24"/>
                      <a:gd name="T14" fmla="+- 0 2411 2323"/>
                      <a:gd name="T15" fmla="*/ 2411 h 142"/>
                      <a:gd name="T16" fmla="+- 0 4082 4081"/>
                      <a:gd name="T17" fmla="*/ T16 w 24"/>
                      <a:gd name="T18" fmla="+- 0 2405 2323"/>
                      <a:gd name="T19" fmla="*/ 240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82"/>
                        </a:moveTo>
                        <a:lnTo>
                          <a:pt x="0" y="82"/>
                        </a:lnTo>
                        <a:lnTo>
                          <a:pt x="0" y="88"/>
                        </a:lnTo>
                        <a:lnTo>
                          <a:pt x="1" y="88"/>
                        </a:lnTo>
                        <a:lnTo>
                          <a:pt x="1" y="8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2" name="Freeform 159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396 2323"/>
                      <a:gd name="T3" fmla="*/ 2396 h 142"/>
                      <a:gd name="T4" fmla="+- 0 4082 4081"/>
                      <a:gd name="T5" fmla="*/ T4 w 24"/>
                      <a:gd name="T6" fmla="+- 0 2396 2323"/>
                      <a:gd name="T7" fmla="*/ 2396 h 142"/>
                      <a:gd name="T8" fmla="+- 0 4082 4081"/>
                      <a:gd name="T9" fmla="*/ T8 w 24"/>
                      <a:gd name="T10" fmla="+- 0 2405 2323"/>
                      <a:gd name="T11" fmla="*/ 2405 h 142"/>
                      <a:gd name="T12" fmla="+- 0 4106 4081"/>
                      <a:gd name="T13" fmla="*/ T12 w 24"/>
                      <a:gd name="T14" fmla="+- 0 2405 2323"/>
                      <a:gd name="T15" fmla="*/ 2405 h 142"/>
                      <a:gd name="T16" fmla="+- 0 4106 4081"/>
                      <a:gd name="T17" fmla="*/ T16 w 24"/>
                      <a:gd name="T18" fmla="+- 0 2396 2323"/>
                      <a:gd name="T19" fmla="*/ 239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73"/>
                        </a:moveTo>
                        <a:lnTo>
                          <a:pt x="1" y="73"/>
                        </a:lnTo>
                        <a:lnTo>
                          <a:pt x="1" y="82"/>
                        </a:lnTo>
                        <a:lnTo>
                          <a:pt x="25" y="82"/>
                        </a:lnTo>
                        <a:lnTo>
                          <a:pt x="25" y="7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3" name="Freeform 160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390 2323"/>
                      <a:gd name="T3" fmla="*/ 2390 h 142"/>
                      <a:gd name="T4" fmla="+- 0 4081 4081"/>
                      <a:gd name="T5" fmla="*/ T4 w 24"/>
                      <a:gd name="T6" fmla="+- 0 2390 2323"/>
                      <a:gd name="T7" fmla="*/ 2390 h 142"/>
                      <a:gd name="T8" fmla="+- 0 4081 4081"/>
                      <a:gd name="T9" fmla="*/ T8 w 24"/>
                      <a:gd name="T10" fmla="+- 0 2396 2323"/>
                      <a:gd name="T11" fmla="*/ 2396 h 142"/>
                      <a:gd name="T12" fmla="+- 0 4082 4081"/>
                      <a:gd name="T13" fmla="*/ T12 w 24"/>
                      <a:gd name="T14" fmla="+- 0 2396 2323"/>
                      <a:gd name="T15" fmla="*/ 2396 h 142"/>
                      <a:gd name="T16" fmla="+- 0 4082 4081"/>
                      <a:gd name="T17" fmla="*/ T16 w 24"/>
                      <a:gd name="T18" fmla="+- 0 2390 2323"/>
                      <a:gd name="T19" fmla="*/ 239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67"/>
                        </a:moveTo>
                        <a:lnTo>
                          <a:pt x="0" y="67"/>
                        </a:lnTo>
                        <a:lnTo>
                          <a:pt x="0" y="73"/>
                        </a:lnTo>
                        <a:lnTo>
                          <a:pt x="1" y="73"/>
                        </a:lnTo>
                        <a:lnTo>
                          <a:pt x="1" y="6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4" name="Freeform 161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382 2323"/>
                      <a:gd name="T3" fmla="*/ 2382 h 142"/>
                      <a:gd name="T4" fmla="+- 0 4082 4081"/>
                      <a:gd name="T5" fmla="*/ T4 w 24"/>
                      <a:gd name="T6" fmla="+- 0 2382 2323"/>
                      <a:gd name="T7" fmla="*/ 2382 h 142"/>
                      <a:gd name="T8" fmla="+- 0 4082 4081"/>
                      <a:gd name="T9" fmla="*/ T8 w 24"/>
                      <a:gd name="T10" fmla="+- 0 2390 2323"/>
                      <a:gd name="T11" fmla="*/ 2390 h 142"/>
                      <a:gd name="T12" fmla="+- 0 4106 4081"/>
                      <a:gd name="T13" fmla="*/ T12 w 24"/>
                      <a:gd name="T14" fmla="+- 0 2390 2323"/>
                      <a:gd name="T15" fmla="*/ 2390 h 142"/>
                      <a:gd name="T16" fmla="+- 0 4106 4081"/>
                      <a:gd name="T17" fmla="*/ T16 w 24"/>
                      <a:gd name="T18" fmla="+- 0 2382 2323"/>
                      <a:gd name="T19" fmla="*/ 238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59"/>
                        </a:moveTo>
                        <a:lnTo>
                          <a:pt x="1" y="59"/>
                        </a:lnTo>
                        <a:lnTo>
                          <a:pt x="1" y="67"/>
                        </a:lnTo>
                        <a:lnTo>
                          <a:pt x="25" y="67"/>
                        </a:lnTo>
                        <a:lnTo>
                          <a:pt x="25" y="5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5" name="Freeform 162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376 2323"/>
                      <a:gd name="T3" fmla="*/ 2376 h 142"/>
                      <a:gd name="T4" fmla="+- 0 4081 4081"/>
                      <a:gd name="T5" fmla="*/ T4 w 24"/>
                      <a:gd name="T6" fmla="+- 0 2376 2323"/>
                      <a:gd name="T7" fmla="*/ 2376 h 142"/>
                      <a:gd name="T8" fmla="+- 0 4081 4081"/>
                      <a:gd name="T9" fmla="*/ T8 w 24"/>
                      <a:gd name="T10" fmla="+- 0 2382 2323"/>
                      <a:gd name="T11" fmla="*/ 2382 h 142"/>
                      <a:gd name="T12" fmla="+- 0 4082 4081"/>
                      <a:gd name="T13" fmla="*/ T12 w 24"/>
                      <a:gd name="T14" fmla="+- 0 2382 2323"/>
                      <a:gd name="T15" fmla="*/ 2382 h 142"/>
                      <a:gd name="T16" fmla="+- 0 4082 4081"/>
                      <a:gd name="T17" fmla="*/ T16 w 24"/>
                      <a:gd name="T18" fmla="+- 0 2376 2323"/>
                      <a:gd name="T19" fmla="*/ 237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53"/>
                        </a:moveTo>
                        <a:lnTo>
                          <a:pt x="0" y="53"/>
                        </a:lnTo>
                        <a:lnTo>
                          <a:pt x="0" y="59"/>
                        </a:lnTo>
                        <a:lnTo>
                          <a:pt x="1" y="59"/>
                        </a:lnTo>
                        <a:lnTo>
                          <a:pt x="1" y="5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6" name="Freeform 163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367 2323"/>
                      <a:gd name="T3" fmla="*/ 2367 h 142"/>
                      <a:gd name="T4" fmla="+- 0 4082 4081"/>
                      <a:gd name="T5" fmla="*/ T4 w 24"/>
                      <a:gd name="T6" fmla="+- 0 2367 2323"/>
                      <a:gd name="T7" fmla="*/ 2367 h 142"/>
                      <a:gd name="T8" fmla="+- 0 4082 4081"/>
                      <a:gd name="T9" fmla="*/ T8 w 24"/>
                      <a:gd name="T10" fmla="+- 0 2376 2323"/>
                      <a:gd name="T11" fmla="*/ 2376 h 142"/>
                      <a:gd name="T12" fmla="+- 0 4106 4081"/>
                      <a:gd name="T13" fmla="*/ T12 w 24"/>
                      <a:gd name="T14" fmla="+- 0 2376 2323"/>
                      <a:gd name="T15" fmla="*/ 2376 h 142"/>
                      <a:gd name="T16" fmla="+- 0 4106 4081"/>
                      <a:gd name="T17" fmla="*/ T16 w 24"/>
                      <a:gd name="T18" fmla="+- 0 2367 2323"/>
                      <a:gd name="T19" fmla="*/ 236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44"/>
                        </a:moveTo>
                        <a:lnTo>
                          <a:pt x="1" y="44"/>
                        </a:lnTo>
                        <a:lnTo>
                          <a:pt x="1" y="53"/>
                        </a:lnTo>
                        <a:lnTo>
                          <a:pt x="25" y="53"/>
                        </a:lnTo>
                        <a:lnTo>
                          <a:pt x="25" y="4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7" name="Freeform 164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361 2323"/>
                      <a:gd name="T3" fmla="*/ 2361 h 142"/>
                      <a:gd name="T4" fmla="+- 0 4081 4081"/>
                      <a:gd name="T5" fmla="*/ T4 w 24"/>
                      <a:gd name="T6" fmla="+- 0 2361 2323"/>
                      <a:gd name="T7" fmla="*/ 2361 h 142"/>
                      <a:gd name="T8" fmla="+- 0 4081 4081"/>
                      <a:gd name="T9" fmla="*/ T8 w 24"/>
                      <a:gd name="T10" fmla="+- 0 2367 2323"/>
                      <a:gd name="T11" fmla="*/ 2367 h 142"/>
                      <a:gd name="T12" fmla="+- 0 4082 4081"/>
                      <a:gd name="T13" fmla="*/ T12 w 24"/>
                      <a:gd name="T14" fmla="+- 0 2367 2323"/>
                      <a:gd name="T15" fmla="*/ 2367 h 142"/>
                      <a:gd name="T16" fmla="+- 0 4082 4081"/>
                      <a:gd name="T17" fmla="*/ T16 w 24"/>
                      <a:gd name="T18" fmla="+- 0 2361 2323"/>
                      <a:gd name="T19" fmla="*/ 236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38"/>
                        </a:moveTo>
                        <a:lnTo>
                          <a:pt x="0" y="38"/>
                        </a:lnTo>
                        <a:lnTo>
                          <a:pt x="0" y="44"/>
                        </a:lnTo>
                        <a:lnTo>
                          <a:pt x="1" y="44"/>
                        </a:lnTo>
                        <a:lnTo>
                          <a:pt x="1" y="3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8" name="Freeform 165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352 2323"/>
                      <a:gd name="T3" fmla="*/ 2352 h 142"/>
                      <a:gd name="T4" fmla="+- 0 4082 4081"/>
                      <a:gd name="T5" fmla="*/ T4 w 24"/>
                      <a:gd name="T6" fmla="+- 0 2352 2323"/>
                      <a:gd name="T7" fmla="*/ 2352 h 142"/>
                      <a:gd name="T8" fmla="+- 0 4082 4081"/>
                      <a:gd name="T9" fmla="*/ T8 w 24"/>
                      <a:gd name="T10" fmla="+- 0 2361 2323"/>
                      <a:gd name="T11" fmla="*/ 2361 h 142"/>
                      <a:gd name="T12" fmla="+- 0 4106 4081"/>
                      <a:gd name="T13" fmla="*/ T12 w 24"/>
                      <a:gd name="T14" fmla="+- 0 2361 2323"/>
                      <a:gd name="T15" fmla="*/ 2361 h 142"/>
                      <a:gd name="T16" fmla="+- 0 4106 4081"/>
                      <a:gd name="T17" fmla="*/ T16 w 24"/>
                      <a:gd name="T18" fmla="+- 0 2352 2323"/>
                      <a:gd name="T19" fmla="*/ 235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29"/>
                        </a:moveTo>
                        <a:lnTo>
                          <a:pt x="1" y="29"/>
                        </a:lnTo>
                        <a:lnTo>
                          <a:pt x="1" y="38"/>
                        </a:lnTo>
                        <a:lnTo>
                          <a:pt x="25" y="38"/>
                        </a:lnTo>
                        <a:lnTo>
                          <a:pt x="25" y="2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59" name="Freeform 166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346 2323"/>
                      <a:gd name="T3" fmla="*/ 2346 h 142"/>
                      <a:gd name="T4" fmla="+- 0 4081 4081"/>
                      <a:gd name="T5" fmla="*/ T4 w 24"/>
                      <a:gd name="T6" fmla="+- 0 2352 2323"/>
                      <a:gd name="T7" fmla="*/ 2352 h 142"/>
                      <a:gd name="T8" fmla="+- 0 4082 4081"/>
                      <a:gd name="T9" fmla="*/ T8 w 24"/>
                      <a:gd name="T10" fmla="+- 0 2352 2323"/>
                      <a:gd name="T11" fmla="*/ 2352 h 142"/>
                      <a:gd name="T12" fmla="+- 0 4082 4081"/>
                      <a:gd name="T13" fmla="*/ T12 w 24"/>
                      <a:gd name="T14" fmla="+- 0 2346 2323"/>
                      <a:gd name="T15" fmla="*/ 234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</a:cxnLst>
                    <a:rect l="0" t="0" r="r" b="b"/>
                    <a:pathLst>
                      <a:path w="24" h="142">
                        <a:moveTo>
                          <a:pt x="1" y="23"/>
                        </a:moveTo>
                        <a:lnTo>
                          <a:pt x="0" y="29"/>
                        </a:lnTo>
                        <a:lnTo>
                          <a:pt x="1" y="29"/>
                        </a:lnTo>
                        <a:lnTo>
                          <a:pt x="1" y="2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60" name="Freeform 167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337 2323"/>
                      <a:gd name="T3" fmla="*/ 2337 h 142"/>
                      <a:gd name="T4" fmla="+- 0 4082 4081"/>
                      <a:gd name="T5" fmla="*/ T4 w 24"/>
                      <a:gd name="T6" fmla="+- 0 2337 2323"/>
                      <a:gd name="T7" fmla="*/ 2337 h 142"/>
                      <a:gd name="T8" fmla="+- 0 4082 4081"/>
                      <a:gd name="T9" fmla="*/ T8 w 24"/>
                      <a:gd name="T10" fmla="+- 0 2346 2323"/>
                      <a:gd name="T11" fmla="*/ 2346 h 142"/>
                      <a:gd name="T12" fmla="+- 0 4106 4081"/>
                      <a:gd name="T13" fmla="*/ T12 w 24"/>
                      <a:gd name="T14" fmla="+- 0 2346 2323"/>
                      <a:gd name="T15" fmla="*/ 2346 h 142"/>
                      <a:gd name="T16" fmla="+- 0 4106 4081"/>
                      <a:gd name="T17" fmla="*/ T16 w 24"/>
                      <a:gd name="T18" fmla="+- 0 2337 2323"/>
                      <a:gd name="T19" fmla="*/ 233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14"/>
                        </a:moveTo>
                        <a:lnTo>
                          <a:pt x="1" y="14"/>
                        </a:lnTo>
                        <a:lnTo>
                          <a:pt x="1" y="23"/>
                        </a:lnTo>
                        <a:lnTo>
                          <a:pt x="25" y="23"/>
                        </a:lnTo>
                        <a:lnTo>
                          <a:pt x="25" y="1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61" name="Freeform 168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332 2323"/>
                      <a:gd name="T3" fmla="*/ 2332 h 142"/>
                      <a:gd name="T4" fmla="+- 0 4081 4081"/>
                      <a:gd name="T5" fmla="*/ T4 w 24"/>
                      <a:gd name="T6" fmla="+- 0 2337 2323"/>
                      <a:gd name="T7" fmla="*/ 2337 h 142"/>
                      <a:gd name="T8" fmla="+- 0 4082 4081"/>
                      <a:gd name="T9" fmla="*/ T8 w 24"/>
                      <a:gd name="T10" fmla="+- 0 2332 2323"/>
                      <a:gd name="T11" fmla="*/ 233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24" h="142">
                        <a:moveTo>
                          <a:pt x="1" y="9"/>
                        </a:moveTo>
                        <a:lnTo>
                          <a:pt x="0" y="14"/>
                        </a:lnTo>
                        <a:lnTo>
                          <a:pt x="1" y="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62" name="Freeform 169"/>
                  <p:cNvSpPr>
                    <a:spLocks/>
                  </p:cNvSpPr>
                  <p:nvPr/>
                </p:nvSpPr>
                <p:spPr bwMode="auto">
                  <a:xfrm>
                    <a:off x="4081" y="232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323 2323"/>
                      <a:gd name="T3" fmla="*/ 2323 h 142"/>
                      <a:gd name="T4" fmla="+- 0 4082 4081"/>
                      <a:gd name="T5" fmla="*/ T4 w 24"/>
                      <a:gd name="T6" fmla="+- 0 2323 2323"/>
                      <a:gd name="T7" fmla="*/ 2323 h 142"/>
                      <a:gd name="T8" fmla="+- 0 4082 4081"/>
                      <a:gd name="T9" fmla="*/ T8 w 24"/>
                      <a:gd name="T10" fmla="+- 0 2332 2323"/>
                      <a:gd name="T11" fmla="*/ 2332 h 142"/>
                      <a:gd name="T12" fmla="+- 0 4106 4081"/>
                      <a:gd name="T13" fmla="*/ T12 w 24"/>
                      <a:gd name="T14" fmla="+- 0 2332 2323"/>
                      <a:gd name="T15" fmla="*/ 2332 h 142"/>
                      <a:gd name="T16" fmla="+- 0 4106 4081"/>
                      <a:gd name="T17" fmla="*/ T16 w 24"/>
                      <a:gd name="T18" fmla="+- 0 2323 2323"/>
                      <a:gd name="T19" fmla="*/ 2323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0"/>
                        </a:moveTo>
                        <a:lnTo>
                          <a:pt x="1" y="0"/>
                        </a:lnTo>
                        <a:lnTo>
                          <a:pt x="1" y="9"/>
                        </a:lnTo>
                        <a:lnTo>
                          <a:pt x="25" y="9"/>
                        </a:lnTo>
                        <a:lnTo>
                          <a:pt x="25" y="0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4" name="Group 170"/>
                <p:cNvGrpSpPr>
                  <a:grpSpLocks/>
                </p:cNvGrpSpPr>
                <p:nvPr/>
              </p:nvGrpSpPr>
              <p:grpSpPr bwMode="auto">
                <a:xfrm>
                  <a:off x="4158" y="5891"/>
                  <a:ext cx="17" cy="37"/>
                  <a:chOff x="4158" y="2426"/>
                  <a:chExt cx="17" cy="37"/>
                </a:xfrm>
              </p:grpSpPr>
              <p:sp>
                <p:nvSpPr>
                  <p:cNvPr id="546011" name="Freeform 171"/>
                  <p:cNvSpPr>
                    <a:spLocks/>
                  </p:cNvSpPr>
                  <p:nvPr/>
                </p:nvSpPr>
                <p:spPr bwMode="auto">
                  <a:xfrm>
                    <a:off x="4158" y="2426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463 2426"/>
                      <a:gd name="T3" fmla="*/ 2463 h 37"/>
                      <a:gd name="T4" fmla="+- 0 4158 4158"/>
                      <a:gd name="T5" fmla="*/ T4 w 17"/>
                      <a:gd name="T6" fmla="+- 0 2426 2426"/>
                      <a:gd name="T7" fmla="*/ 2426 h 37"/>
                      <a:gd name="T8" fmla="+- 0 4175 4158"/>
                      <a:gd name="T9" fmla="*/ T8 w 17"/>
                      <a:gd name="T10" fmla="+- 0 2426 2426"/>
                      <a:gd name="T11" fmla="*/ 2426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37"/>
                        </a:moveTo>
                        <a:lnTo>
                          <a:pt x="0" y="0"/>
                        </a:lnTo>
                        <a:lnTo>
                          <a:pt x="17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5" name="Group 172"/>
                <p:cNvGrpSpPr>
                  <a:grpSpLocks/>
                </p:cNvGrpSpPr>
                <p:nvPr/>
              </p:nvGrpSpPr>
              <p:grpSpPr bwMode="auto">
                <a:xfrm>
                  <a:off x="4158" y="5759"/>
                  <a:ext cx="17" cy="37"/>
                  <a:chOff x="4158" y="2294"/>
                  <a:chExt cx="17" cy="37"/>
                </a:xfrm>
              </p:grpSpPr>
              <p:sp>
                <p:nvSpPr>
                  <p:cNvPr id="546010" name="Freeform 173"/>
                  <p:cNvSpPr>
                    <a:spLocks/>
                  </p:cNvSpPr>
                  <p:nvPr/>
                </p:nvSpPr>
                <p:spPr bwMode="auto">
                  <a:xfrm>
                    <a:off x="4158" y="2294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294 2294"/>
                      <a:gd name="T3" fmla="*/ 2294 h 37"/>
                      <a:gd name="T4" fmla="+- 0 4158 4158"/>
                      <a:gd name="T5" fmla="*/ T4 w 17"/>
                      <a:gd name="T6" fmla="+- 0 2331 2294"/>
                      <a:gd name="T7" fmla="*/ 2331 h 37"/>
                      <a:gd name="T8" fmla="+- 0 4175 4158"/>
                      <a:gd name="T9" fmla="*/ T8 w 17"/>
                      <a:gd name="T10" fmla="+- 0 2331 2294"/>
                      <a:gd name="T11" fmla="*/ 2331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0"/>
                        </a:moveTo>
                        <a:lnTo>
                          <a:pt x="0" y="37"/>
                        </a:lnTo>
                        <a:lnTo>
                          <a:pt x="17" y="37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6" name="Group 174"/>
                <p:cNvGrpSpPr>
                  <a:grpSpLocks/>
                </p:cNvGrpSpPr>
                <p:nvPr/>
              </p:nvGrpSpPr>
              <p:grpSpPr bwMode="auto">
                <a:xfrm>
                  <a:off x="4188" y="5796"/>
                  <a:ext cx="2" cy="96"/>
                  <a:chOff x="4188" y="2331"/>
                  <a:chExt cx="2" cy="96"/>
                </a:xfrm>
              </p:grpSpPr>
              <p:sp>
                <p:nvSpPr>
                  <p:cNvPr id="546009" name="Freeform 175"/>
                  <p:cNvSpPr>
                    <a:spLocks/>
                  </p:cNvSpPr>
                  <p:nvPr/>
                </p:nvSpPr>
                <p:spPr bwMode="auto">
                  <a:xfrm>
                    <a:off x="4188" y="2331"/>
                    <a:ext cx="2" cy="96"/>
                  </a:xfrm>
                  <a:custGeom>
                    <a:avLst/>
                    <a:gdLst>
                      <a:gd name="T0" fmla="+- 0 2427 2331"/>
                      <a:gd name="T1" fmla="*/ 2427 h 96"/>
                      <a:gd name="T2" fmla="+- 0 2331 2331"/>
                      <a:gd name="T3" fmla="*/ 2331 h 96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96">
                        <a:moveTo>
                          <a:pt x="0" y="96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7" name="Group 176"/>
                <p:cNvGrpSpPr>
                  <a:grpSpLocks/>
                </p:cNvGrpSpPr>
                <p:nvPr/>
              </p:nvGrpSpPr>
              <p:grpSpPr bwMode="auto">
                <a:xfrm>
                  <a:off x="4193" y="5972"/>
                  <a:ext cx="28" cy="57"/>
                  <a:chOff x="4193" y="2507"/>
                  <a:chExt cx="28" cy="57"/>
                </a:xfrm>
              </p:grpSpPr>
              <p:sp>
                <p:nvSpPr>
                  <p:cNvPr id="546008" name="Freeform 177"/>
                  <p:cNvSpPr>
                    <a:spLocks/>
                  </p:cNvSpPr>
                  <p:nvPr/>
                </p:nvSpPr>
                <p:spPr bwMode="auto">
                  <a:xfrm>
                    <a:off x="4193" y="2507"/>
                    <a:ext cx="28" cy="57"/>
                  </a:xfrm>
                  <a:custGeom>
                    <a:avLst/>
                    <a:gdLst>
                      <a:gd name="T0" fmla="+- 0 4220 4193"/>
                      <a:gd name="T1" fmla="*/ T0 w 28"/>
                      <a:gd name="T2" fmla="+- 0 2507 2507"/>
                      <a:gd name="T3" fmla="*/ 2507 h 57"/>
                      <a:gd name="T4" fmla="+- 0 4194 4193"/>
                      <a:gd name="T5" fmla="*/ T4 w 28"/>
                      <a:gd name="T6" fmla="+- 0 2507 2507"/>
                      <a:gd name="T7" fmla="*/ 2507 h 57"/>
                      <a:gd name="T8" fmla="+- 0 4193 4193"/>
                      <a:gd name="T9" fmla="*/ T8 w 28"/>
                      <a:gd name="T10" fmla="+- 0 2508 2507"/>
                      <a:gd name="T11" fmla="*/ 2508 h 57"/>
                      <a:gd name="T12" fmla="+- 0 4193 4193"/>
                      <a:gd name="T13" fmla="*/ T12 w 28"/>
                      <a:gd name="T14" fmla="+- 0 2564 2507"/>
                      <a:gd name="T15" fmla="*/ 2564 h 57"/>
                      <a:gd name="T16" fmla="+- 0 4194 4193"/>
                      <a:gd name="T17" fmla="*/ T16 w 28"/>
                      <a:gd name="T18" fmla="+- 0 2564 2507"/>
                      <a:gd name="T19" fmla="*/ 2564 h 57"/>
                      <a:gd name="T20" fmla="+- 0 4220 4193"/>
                      <a:gd name="T21" fmla="*/ T20 w 28"/>
                      <a:gd name="T22" fmla="+- 0 2564 2507"/>
                      <a:gd name="T23" fmla="*/ 2564 h 57"/>
                      <a:gd name="T24" fmla="+- 0 4220 4193"/>
                      <a:gd name="T25" fmla="*/ T24 w 28"/>
                      <a:gd name="T26" fmla="+- 0 2564 2507"/>
                      <a:gd name="T27" fmla="*/ 2564 h 57"/>
                      <a:gd name="T28" fmla="+- 0 4220 4193"/>
                      <a:gd name="T29" fmla="*/ T28 w 28"/>
                      <a:gd name="T30" fmla="+- 0 2508 2507"/>
                      <a:gd name="T31" fmla="*/ 2508 h 57"/>
                      <a:gd name="T32" fmla="+- 0 4220 4193"/>
                      <a:gd name="T33" fmla="*/ T32 w 28"/>
                      <a:gd name="T34" fmla="+- 0 2507 2507"/>
                      <a:gd name="T35" fmla="*/ 2507 h 5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28" h="57">
                        <a:moveTo>
                          <a:pt x="27" y="0"/>
                        </a:move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57"/>
                        </a:lnTo>
                        <a:lnTo>
                          <a:pt x="1" y="57"/>
                        </a:lnTo>
                        <a:lnTo>
                          <a:pt x="27" y="57"/>
                        </a:lnTo>
                        <a:lnTo>
                          <a:pt x="27" y="1"/>
                        </a:lnTo>
                        <a:lnTo>
                          <a:pt x="27" y="0"/>
                        </a:lnTo>
                        <a:close/>
                      </a:path>
                    </a:pathLst>
                  </a:custGeom>
                  <a:solidFill>
                    <a:srgbClr val="1D1D1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88" name="Group 178"/>
                <p:cNvGrpSpPr>
                  <a:grpSpLocks/>
                </p:cNvGrpSpPr>
                <p:nvPr/>
              </p:nvGrpSpPr>
              <p:grpSpPr bwMode="auto">
                <a:xfrm>
                  <a:off x="4204" y="5987"/>
                  <a:ext cx="6" cy="6"/>
                  <a:chOff x="4204" y="2522"/>
                  <a:chExt cx="6" cy="6"/>
                </a:xfrm>
              </p:grpSpPr>
              <p:sp>
                <p:nvSpPr>
                  <p:cNvPr id="546007" name="Freeform 179"/>
                  <p:cNvSpPr>
                    <a:spLocks/>
                  </p:cNvSpPr>
                  <p:nvPr/>
                </p:nvSpPr>
                <p:spPr bwMode="auto">
                  <a:xfrm>
                    <a:off x="4204" y="2522"/>
                    <a:ext cx="6" cy="6"/>
                  </a:xfrm>
                  <a:custGeom>
                    <a:avLst/>
                    <a:gdLst>
                      <a:gd name="T0" fmla="+- 0 4208 4204"/>
                      <a:gd name="T1" fmla="*/ T0 w 6"/>
                      <a:gd name="T2" fmla="+- 0 2522 2522"/>
                      <a:gd name="T3" fmla="*/ 2522 h 6"/>
                      <a:gd name="T4" fmla="+- 0 4205 4204"/>
                      <a:gd name="T5" fmla="*/ T4 w 6"/>
                      <a:gd name="T6" fmla="+- 0 2522 2522"/>
                      <a:gd name="T7" fmla="*/ 2522 h 6"/>
                      <a:gd name="T8" fmla="+- 0 4204 4204"/>
                      <a:gd name="T9" fmla="*/ T8 w 6"/>
                      <a:gd name="T10" fmla="+- 0 2524 2522"/>
                      <a:gd name="T11" fmla="*/ 2524 h 6"/>
                      <a:gd name="T12" fmla="+- 0 4204 4204"/>
                      <a:gd name="T13" fmla="*/ T12 w 6"/>
                      <a:gd name="T14" fmla="+- 0 2527 2522"/>
                      <a:gd name="T15" fmla="*/ 2527 h 6"/>
                      <a:gd name="T16" fmla="+- 0 4205 4204"/>
                      <a:gd name="T17" fmla="*/ T16 w 6"/>
                      <a:gd name="T18" fmla="+- 0 2528 2522"/>
                      <a:gd name="T19" fmla="*/ 2528 h 6"/>
                      <a:gd name="T20" fmla="+- 0 4208 4204"/>
                      <a:gd name="T21" fmla="*/ T20 w 6"/>
                      <a:gd name="T22" fmla="+- 0 2528 2522"/>
                      <a:gd name="T23" fmla="*/ 2528 h 6"/>
                      <a:gd name="T24" fmla="+- 0 4210 4204"/>
                      <a:gd name="T25" fmla="*/ T24 w 6"/>
                      <a:gd name="T26" fmla="+- 0 2527 2522"/>
                      <a:gd name="T27" fmla="*/ 2527 h 6"/>
                      <a:gd name="T28" fmla="+- 0 4210 4204"/>
                      <a:gd name="T29" fmla="*/ T28 w 6"/>
                      <a:gd name="T30" fmla="+- 0 2524 2522"/>
                      <a:gd name="T31" fmla="*/ 2524 h 6"/>
                      <a:gd name="T32" fmla="+- 0 4208 4204"/>
                      <a:gd name="T33" fmla="*/ T32 w 6"/>
                      <a:gd name="T34" fmla="+- 0 2522 2522"/>
                      <a:gd name="T35" fmla="*/ 2522 h 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6" h="6">
                        <a:moveTo>
                          <a:pt x="4" y="0"/>
                        </a:moveTo>
                        <a:lnTo>
                          <a:pt x="1" y="0"/>
                        </a:lnTo>
                        <a:lnTo>
                          <a:pt x="0" y="2"/>
                        </a:lnTo>
                        <a:lnTo>
                          <a:pt x="0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6" y="5"/>
                        </a:lnTo>
                        <a:lnTo>
                          <a:pt x="6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5972" name="Picture 180"/>
                  <p:cNvPicPr>
                    <a:picLocks noChangeAspect="1" noChangeArrowheads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76" y="2526"/>
                    <a:ext cx="69" cy="18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89" name="Group 181"/>
                <p:cNvGrpSpPr>
                  <a:grpSpLocks/>
                </p:cNvGrpSpPr>
                <p:nvPr/>
              </p:nvGrpSpPr>
              <p:grpSpPr bwMode="auto">
                <a:xfrm>
                  <a:off x="4076" y="5991"/>
                  <a:ext cx="141" cy="186"/>
                  <a:chOff x="4076" y="2526"/>
                  <a:chExt cx="141" cy="186"/>
                </a:xfrm>
              </p:grpSpPr>
              <p:sp>
                <p:nvSpPr>
                  <p:cNvPr id="546006" name="Freeform 182"/>
                  <p:cNvSpPr>
                    <a:spLocks/>
                  </p:cNvSpPr>
                  <p:nvPr/>
                </p:nvSpPr>
                <p:spPr bwMode="auto">
                  <a:xfrm>
                    <a:off x="4076" y="2526"/>
                    <a:ext cx="141" cy="186"/>
                  </a:xfrm>
                  <a:custGeom>
                    <a:avLst/>
                    <a:gdLst>
                      <a:gd name="T0" fmla="+- 0 4076 4076"/>
                      <a:gd name="T1" fmla="*/ T0 w 141"/>
                      <a:gd name="T2" fmla="+- 0 2620 2526"/>
                      <a:gd name="T3" fmla="*/ 2620 h 186"/>
                      <a:gd name="T4" fmla="+- 0 4076 4076"/>
                      <a:gd name="T5" fmla="*/ T4 w 141"/>
                      <a:gd name="T6" fmla="+- 0 2534 2526"/>
                      <a:gd name="T7" fmla="*/ 2534 h 186"/>
                      <a:gd name="T8" fmla="+- 0 4107 4076"/>
                      <a:gd name="T9" fmla="*/ T8 w 141"/>
                      <a:gd name="T10" fmla="+- 0 2534 2526"/>
                      <a:gd name="T11" fmla="*/ 2534 h 186"/>
                      <a:gd name="T12" fmla="+- 0 4107 4076"/>
                      <a:gd name="T13" fmla="*/ T12 w 141"/>
                      <a:gd name="T14" fmla="+- 0 2526 2526"/>
                      <a:gd name="T15" fmla="*/ 2526 h 186"/>
                      <a:gd name="T16" fmla="+- 0 4145 4076"/>
                      <a:gd name="T17" fmla="*/ T16 w 141"/>
                      <a:gd name="T18" fmla="+- 0 2526 2526"/>
                      <a:gd name="T19" fmla="*/ 2526 h 186"/>
                      <a:gd name="T20" fmla="+- 0 4145 4076"/>
                      <a:gd name="T21" fmla="*/ T20 w 141"/>
                      <a:gd name="T22" fmla="+- 0 2534 2526"/>
                      <a:gd name="T23" fmla="*/ 2534 h 186"/>
                      <a:gd name="T24" fmla="+- 0 4175 4076"/>
                      <a:gd name="T25" fmla="*/ T24 w 141"/>
                      <a:gd name="T26" fmla="+- 0 2534 2526"/>
                      <a:gd name="T27" fmla="*/ 2534 h 186"/>
                      <a:gd name="T28" fmla="+- 0 4175 4076"/>
                      <a:gd name="T29" fmla="*/ T28 w 141"/>
                      <a:gd name="T30" fmla="+- 0 2571 2526"/>
                      <a:gd name="T31" fmla="*/ 2571 h 186"/>
                      <a:gd name="T32" fmla="+- 0 4198 4076"/>
                      <a:gd name="T33" fmla="*/ T32 w 141"/>
                      <a:gd name="T34" fmla="+- 0 2571 2526"/>
                      <a:gd name="T35" fmla="*/ 2571 h 186"/>
                      <a:gd name="T36" fmla="+- 0 4198 4076"/>
                      <a:gd name="T37" fmla="*/ T36 w 141"/>
                      <a:gd name="T38" fmla="+- 0 2590 2526"/>
                      <a:gd name="T39" fmla="*/ 2590 h 186"/>
                      <a:gd name="T40" fmla="+- 0 4217 4076"/>
                      <a:gd name="T41" fmla="*/ T40 w 141"/>
                      <a:gd name="T42" fmla="+- 0 2590 2526"/>
                      <a:gd name="T43" fmla="*/ 2590 h 186"/>
                      <a:gd name="T44" fmla="+- 0 4217 4076"/>
                      <a:gd name="T45" fmla="*/ T44 w 141"/>
                      <a:gd name="T46" fmla="+- 0 2619 2526"/>
                      <a:gd name="T47" fmla="*/ 2619 h 186"/>
                      <a:gd name="T48" fmla="+- 0 4217 4076"/>
                      <a:gd name="T49" fmla="*/ T48 w 141"/>
                      <a:gd name="T50" fmla="+- 0 2648 2526"/>
                      <a:gd name="T51" fmla="*/ 2648 h 186"/>
                      <a:gd name="T52" fmla="+- 0 4198 4076"/>
                      <a:gd name="T53" fmla="*/ T52 w 141"/>
                      <a:gd name="T54" fmla="+- 0 2648 2526"/>
                      <a:gd name="T55" fmla="*/ 2648 h 186"/>
                      <a:gd name="T56" fmla="+- 0 4198 4076"/>
                      <a:gd name="T57" fmla="*/ T56 w 141"/>
                      <a:gd name="T58" fmla="+- 0 2666 2526"/>
                      <a:gd name="T59" fmla="*/ 2666 h 186"/>
                      <a:gd name="T60" fmla="+- 0 4175 4076"/>
                      <a:gd name="T61" fmla="*/ T60 w 141"/>
                      <a:gd name="T62" fmla="+- 0 2666 2526"/>
                      <a:gd name="T63" fmla="*/ 2666 h 186"/>
                      <a:gd name="T64" fmla="+- 0 4175 4076"/>
                      <a:gd name="T65" fmla="*/ T64 w 141"/>
                      <a:gd name="T66" fmla="+- 0 2704 2526"/>
                      <a:gd name="T67" fmla="*/ 2704 h 186"/>
                      <a:gd name="T68" fmla="+- 0 4145 4076"/>
                      <a:gd name="T69" fmla="*/ T68 w 141"/>
                      <a:gd name="T70" fmla="+- 0 2704 2526"/>
                      <a:gd name="T71" fmla="*/ 2704 h 186"/>
                      <a:gd name="T72" fmla="+- 0 4145 4076"/>
                      <a:gd name="T73" fmla="*/ T72 w 141"/>
                      <a:gd name="T74" fmla="+- 0 2712 2526"/>
                      <a:gd name="T75" fmla="*/ 2712 h 186"/>
                      <a:gd name="T76" fmla="+- 0 4107 4076"/>
                      <a:gd name="T77" fmla="*/ T76 w 141"/>
                      <a:gd name="T78" fmla="+- 0 2712 2526"/>
                      <a:gd name="T79" fmla="*/ 2712 h 186"/>
                      <a:gd name="T80" fmla="+- 0 4107 4076"/>
                      <a:gd name="T81" fmla="*/ T80 w 141"/>
                      <a:gd name="T82" fmla="+- 0 2704 2526"/>
                      <a:gd name="T83" fmla="*/ 2704 h 186"/>
                      <a:gd name="T84" fmla="+- 0 4076 4076"/>
                      <a:gd name="T85" fmla="*/ T84 w 141"/>
                      <a:gd name="T86" fmla="+- 0 2704 2526"/>
                      <a:gd name="T87" fmla="*/ 2704 h 186"/>
                      <a:gd name="T88" fmla="+- 0 4076 4076"/>
                      <a:gd name="T89" fmla="*/ T88 w 141"/>
                      <a:gd name="T90" fmla="+- 0 2620 2526"/>
                      <a:gd name="T91" fmla="*/ 2620 h 18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  <a:cxn ang="0">
                        <a:pos x="T69" y="T71"/>
                      </a:cxn>
                      <a:cxn ang="0">
                        <a:pos x="T73" y="T75"/>
                      </a:cxn>
                      <a:cxn ang="0">
                        <a:pos x="T77" y="T79"/>
                      </a:cxn>
                      <a:cxn ang="0">
                        <a:pos x="T81" y="T83"/>
                      </a:cxn>
                      <a:cxn ang="0">
                        <a:pos x="T85" y="T87"/>
                      </a:cxn>
                      <a:cxn ang="0">
                        <a:pos x="T89" y="T91"/>
                      </a:cxn>
                    </a:cxnLst>
                    <a:rect l="0" t="0" r="r" b="b"/>
                    <a:pathLst>
                      <a:path w="141" h="186">
                        <a:moveTo>
                          <a:pt x="0" y="94"/>
                        </a:moveTo>
                        <a:lnTo>
                          <a:pt x="0" y="8"/>
                        </a:lnTo>
                        <a:lnTo>
                          <a:pt x="31" y="8"/>
                        </a:lnTo>
                        <a:lnTo>
                          <a:pt x="31" y="0"/>
                        </a:lnTo>
                        <a:lnTo>
                          <a:pt x="69" y="0"/>
                        </a:lnTo>
                        <a:lnTo>
                          <a:pt x="69" y="8"/>
                        </a:lnTo>
                        <a:lnTo>
                          <a:pt x="99" y="8"/>
                        </a:lnTo>
                        <a:lnTo>
                          <a:pt x="99" y="45"/>
                        </a:lnTo>
                        <a:lnTo>
                          <a:pt x="122" y="45"/>
                        </a:lnTo>
                        <a:lnTo>
                          <a:pt x="122" y="64"/>
                        </a:lnTo>
                        <a:lnTo>
                          <a:pt x="141" y="64"/>
                        </a:lnTo>
                        <a:lnTo>
                          <a:pt x="141" y="93"/>
                        </a:lnTo>
                        <a:lnTo>
                          <a:pt x="141" y="122"/>
                        </a:lnTo>
                        <a:lnTo>
                          <a:pt x="122" y="122"/>
                        </a:lnTo>
                        <a:lnTo>
                          <a:pt x="122" y="140"/>
                        </a:lnTo>
                        <a:lnTo>
                          <a:pt x="99" y="140"/>
                        </a:lnTo>
                        <a:lnTo>
                          <a:pt x="99" y="178"/>
                        </a:lnTo>
                        <a:lnTo>
                          <a:pt x="69" y="178"/>
                        </a:lnTo>
                        <a:lnTo>
                          <a:pt x="69" y="186"/>
                        </a:lnTo>
                        <a:lnTo>
                          <a:pt x="31" y="186"/>
                        </a:lnTo>
                        <a:lnTo>
                          <a:pt x="31" y="178"/>
                        </a:lnTo>
                        <a:lnTo>
                          <a:pt x="0" y="178"/>
                        </a:lnTo>
                        <a:lnTo>
                          <a:pt x="0" y="94"/>
                        </a:lnTo>
                        <a:close/>
                      </a:path>
                    </a:pathLst>
                  </a:custGeom>
                  <a:noFill/>
                  <a:ln w="1575">
                    <a:solidFill>
                      <a:srgbClr val="2E1414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90" name="Group 183"/>
                <p:cNvGrpSpPr>
                  <a:grpSpLocks/>
                </p:cNvGrpSpPr>
                <p:nvPr/>
              </p:nvGrpSpPr>
              <p:grpSpPr bwMode="auto">
                <a:xfrm>
                  <a:off x="4107" y="5999"/>
                  <a:ext cx="34" cy="170"/>
                  <a:chOff x="4107" y="2534"/>
                  <a:chExt cx="34" cy="170"/>
                </a:xfrm>
              </p:grpSpPr>
              <p:sp>
                <p:nvSpPr>
                  <p:cNvPr id="546004" name="Freeform 184"/>
                  <p:cNvSpPr>
                    <a:spLocks/>
                  </p:cNvSpPr>
                  <p:nvPr/>
                </p:nvSpPr>
                <p:spPr bwMode="auto">
                  <a:xfrm>
                    <a:off x="4107" y="2534"/>
                    <a:ext cx="34" cy="170"/>
                  </a:xfrm>
                  <a:custGeom>
                    <a:avLst/>
                    <a:gdLst>
                      <a:gd name="T0" fmla="+- 0 4107 4107"/>
                      <a:gd name="T1" fmla="*/ T0 w 34"/>
                      <a:gd name="T2" fmla="+- 0 2534 2534"/>
                      <a:gd name="T3" fmla="*/ 2534 h 170"/>
                      <a:gd name="T4" fmla="+- 0 4107 4107"/>
                      <a:gd name="T5" fmla="*/ T4 w 34"/>
                      <a:gd name="T6" fmla="+- 0 2557 2534"/>
                      <a:gd name="T7" fmla="*/ 2557 h 170"/>
                      <a:gd name="T8" fmla="+- 0 4141 4107"/>
                      <a:gd name="T9" fmla="*/ T8 w 34"/>
                      <a:gd name="T10" fmla="+- 0 2557 2534"/>
                      <a:gd name="T11" fmla="*/ 2557 h 170"/>
                      <a:gd name="T12" fmla="+- 0 4141 4107"/>
                      <a:gd name="T13" fmla="*/ T12 w 34"/>
                      <a:gd name="T14" fmla="+- 0 2619 2534"/>
                      <a:gd name="T15" fmla="*/ 2619 h 170"/>
                      <a:gd name="T16" fmla="+- 0 4141 4107"/>
                      <a:gd name="T17" fmla="*/ T16 w 34"/>
                      <a:gd name="T18" fmla="+- 0 2681 2534"/>
                      <a:gd name="T19" fmla="*/ 2681 h 170"/>
                      <a:gd name="T20" fmla="+- 0 4107 4107"/>
                      <a:gd name="T21" fmla="*/ T20 w 34"/>
                      <a:gd name="T22" fmla="+- 0 2681 2534"/>
                      <a:gd name="T23" fmla="*/ 2681 h 170"/>
                      <a:gd name="T24" fmla="+- 0 4107 4107"/>
                      <a:gd name="T25" fmla="*/ T24 w 34"/>
                      <a:gd name="T26" fmla="+- 0 2704 2534"/>
                      <a:gd name="T27" fmla="*/ 2704 h 170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</a:cxnLst>
                    <a:rect l="0" t="0" r="r" b="b"/>
                    <a:pathLst>
                      <a:path w="34" h="170">
                        <a:moveTo>
                          <a:pt x="0" y="0"/>
                        </a:moveTo>
                        <a:lnTo>
                          <a:pt x="0" y="23"/>
                        </a:lnTo>
                        <a:lnTo>
                          <a:pt x="34" y="23"/>
                        </a:lnTo>
                        <a:lnTo>
                          <a:pt x="34" y="85"/>
                        </a:lnTo>
                        <a:lnTo>
                          <a:pt x="34" y="147"/>
                        </a:lnTo>
                        <a:lnTo>
                          <a:pt x="0" y="147"/>
                        </a:lnTo>
                        <a:lnTo>
                          <a:pt x="0" y="17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91" name="Group 185"/>
                <p:cNvGrpSpPr>
                  <a:grpSpLocks/>
                </p:cNvGrpSpPr>
                <p:nvPr/>
              </p:nvGrpSpPr>
              <p:grpSpPr bwMode="auto">
                <a:xfrm>
                  <a:off x="4090" y="5999"/>
                  <a:ext cx="2" cy="169"/>
                  <a:chOff x="4090" y="2534"/>
                  <a:chExt cx="2" cy="169"/>
                </a:xfrm>
              </p:grpSpPr>
              <p:sp>
                <p:nvSpPr>
                  <p:cNvPr id="546003" name="Freeform 186"/>
                  <p:cNvSpPr>
                    <a:spLocks/>
                  </p:cNvSpPr>
                  <p:nvPr/>
                </p:nvSpPr>
                <p:spPr bwMode="auto">
                  <a:xfrm>
                    <a:off x="4090" y="2534"/>
                    <a:ext cx="2" cy="169"/>
                  </a:xfrm>
                  <a:custGeom>
                    <a:avLst/>
                    <a:gdLst>
                      <a:gd name="T0" fmla="+- 0 2703 2534"/>
                      <a:gd name="T1" fmla="*/ 2703 h 169"/>
                      <a:gd name="T2" fmla="+- 0 2534 2534"/>
                      <a:gd name="T3" fmla="*/ 2534 h 169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169">
                        <a:moveTo>
                          <a:pt x="0" y="169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92" name="Group 187"/>
                <p:cNvGrpSpPr>
                  <a:grpSpLocks/>
                </p:cNvGrpSpPr>
                <p:nvPr/>
              </p:nvGrpSpPr>
              <p:grpSpPr bwMode="auto">
                <a:xfrm>
                  <a:off x="4081" y="6028"/>
                  <a:ext cx="24" cy="142"/>
                  <a:chOff x="4081" y="2563"/>
                  <a:chExt cx="24" cy="142"/>
                </a:xfrm>
              </p:grpSpPr>
              <p:sp>
                <p:nvSpPr>
                  <p:cNvPr id="545988" name="Freeform 188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665 2563"/>
                      <a:gd name="T3" fmla="*/ 2665 h 142"/>
                      <a:gd name="T4" fmla="+- 0 4082 4081"/>
                      <a:gd name="T5" fmla="*/ T4 w 24"/>
                      <a:gd name="T6" fmla="+- 0 2665 2563"/>
                      <a:gd name="T7" fmla="*/ 2665 h 142"/>
                      <a:gd name="T8" fmla="+- 0 4082 4081"/>
                      <a:gd name="T9" fmla="*/ T8 w 24"/>
                      <a:gd name="T10" fmla="+- 0 2705 2563"/>
                      <a:gd name="T11" fmla="*/ 2705 h 142"/>
                      <a:gd name="T12" fmla="+- 0 4082 4081"/>
                      <a:gd name="T13" fmla="*/ T12 w 24"/>
                      <a:gd name="T14" fmla="+- 0 2674 2563"/>
                      <a:gd name="T15" fmla="*/ 2674 h 142"/>
                      <a:gd name="T16" fmla="+- 0 4106 4081"/>
                      <a:gd name="T17" fmla="*/ T16 w 24"/>
                      <a:gd name="T18" fmla="+- 0 2674 2563"/>
                      <a:gd name="T19" fmla="*/ 2674 h 142"/>
                      <a:gd name="T20" fmla="+- 0 4106 4081"/>
                      <a:gd name="T21" fmla="*/ T20 w 24"/>
                      <a:gd name="T22" fmla="+- 0 2665 2563"/>
                      <a:gd name="T23" fmla="*/ 266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</a:cxnLst>
                    <a:rect l="0" t="0" r="r" b="b"/>
                    <a:pathLst>
                      <a:path w="24" h="142">
                        <a:moveTo>
                          <a:pt x="25" y="102"/>
                        </a:moveTo>
                        <a:lnTo>
                          <a:pt x="1" y="102"/>
                        </a:lnTo>
                        <a:lnTo>
                          <a:pt x="1" y="142"/>
                        </a:lnTo>
                        <a:lnTo>
                          <a:pt x="1" y="111"/>
                        </a:lnTo>
                        <a:lnTo>
                          <a:pt x="25" y="111"/>
                        </a:lnTo>
                        <a:lnTo>
                          <a:pt x="25" y="10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89" name="Freeform 189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660 2563"/>
                      <a:gd name="T3" fmla="*/ 2660 h 142"/>
                      <a:gd name="T4" fmla="+- 0 4081 4081"/>
                      <a:gd name="T5" fmla="*/ T4 w 24"/>
                      <a:gd name="T6" fmla="+- 0 2660 2563"/>
                      <a:gd name="T7" fmla="*/ 2660 h 142"/>
                      <a:gd name="T8" fmla="+- 0 4081 4081"/>
                      <a:gd name="T9" fmla="*/ T8 w 24"/>
                      <a:gd name="T10" fmla="+- 0 2665 2563"/>
                      <a:gd name="T11" fmla="*/ 2665 h 142"/>
                      <a:gd name="T12" fmla="+- 0 4082 4081"/>
                      <a:gd name="T13" fmla="*/ T12 w 24"/>
                      <a:gd name="T14" fmla="+- 0 2665 2563"/>
                      <a:gd name="T15" fmla="*/ 2665 h 142"/>
                      <a:gd name="T16" fmla="+- 0 4082 4081"/>
                      <a:gd name="T17" fmla="*/ T16 w 24"/>
                      <a:gd name="T18" fmla="+- 0 2660 2563"/>
                      <a:gd name="T19" fmla="*/ 266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97"/>
                        </a:moveTo>
                        <a:lnTo>
                          <a:pt x="0" y="97"/>
                        </a:lnTo>
                        <a:lnTo>
                          <a:pt x="0" y="102"/>
                        </a:lnTo>
                        <a:lnTo>
                          <a:pt x="1" y="102"/>
                        </a:lnTo>
                        <a:lnTo>
                          <a:pt x="1" y="9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0" name="Freeform 190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651 2563"/>
                      <a:gd name="T3" fmla="*/ 2651 h 142"/>
                      <a:gd name="T4" fmla="+- 0 4082 4081"/>
                      <a:gd name="T5" fmla="*/ T4 w 24"/>
                      <a:gd name="T6" fmla="+- 0 2651 2563"/>
                      <a:gd name="T7" fmla="*/ 2651 h 142"/>
                      <a:gd name="T8" fmla="+- 0 4082 4081"/>
                      <a:gd name="T9" fmla="*/ T8 w 24"/>
                      <a:gd name="T10" fmla="+- 0 2660 2563"/>
                      <a:gd name="T11" fmla="*/ 2660 h 142"/>
                      <a:gd name="T12" fmla="+- 0 4106 4081"/>
                      <a:gd name="T13" fmla="*/ T12 w 24"/>
                      <a:gd name="T14" fmla="+- 0 2660 2563"/>
                      <a:gd name="T15" fmla="*/ 2660 h 142"/>
                      <a:gd name="T16" fmla="+- 0 4106 4081"/>
                      <a:gd name="T17" fmla="*/ T16 w 24"/>
                      <a:gd name="T18" fmla="+- 0 2651 2563"/>
                      <a:gd name="T19" fmla="*/ 265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88"/>
                        </a:moveTo>
                        <a:lnTo>
                          <a:pt x="1" y="88"/>
                        </a:lnTo>
                        <a:lnTo>
                          <a:pt x="1" y="97"/>
                        </a:lnTo>
                        <a:lnTo>
                          <a:pt x="25" y="97"/>
                        </a:lnTo>
                        <a:lnTo>
                          <a:pt x="25" y="8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1" name="Freeform 191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645 2563"/>
                      <a:gd name="T3" fmla="*/ 2645 h 142"/>
                      <a:gd name="T4" fmla="+- 0 4081 4081"/>
                      <a:gd name="T5" fmla="*/ T4 w 24"/>
                      <a:gd name="T6" fmla="+- 0 2645 2563"/>
                      <a:gd name="T7" fmla="*/ 2645 h 142"/>
                      <a:gd name="T8" fmla="+- 0 4081 4081"/>
                      <a:gd name="T9" fmla="*/ T8 w 24"/>
                      <a:gd name="T10" fmla="+- 0 2651 2563"/>
                      <a:gd name="T11" fmla="*/ 2651 h 142"/>
                      <a:gd name="T12" fmla="+- 0 4082 4081"/>
                      <a:gd name="T13" fmla="*/ T12 w 24"/>
                      <a:gd name="T14" fmla="+- 0 2651 2563"/>
                      <a:gd name="T15" fmla="*/ 2651 h 142"/>
                      <a:gd name="T16" fmla="+- 0 4082 4081"/>
                      <a:gd name="T17" fmla="*/ T16 w 24"/>
                      <a:gd name="T18" fmla="+- 0 2645 2563"/>
                      <a:gd name="T19" fmla="*/ 264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82"/>
                        </a:moveTo>
                        <a:lnTo>
                          <a:pt x="0" y="82"/>
                        </a:lnTo>
                        <a:lnTo>
                          <a:pt x="0" y="88"/>
                        </a:lnTo>
                        <a:lnTo>
                          <a:pt x="1" y="88"/>
                        </a:lnTo>
                        <a:lnTo>
                          <a:pt x="1" y="8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2" name="Freeform 192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636 2563"/>
                      <a:gd name="T3" fmla="*/ 2636 h 142"/>
                      <a:gd name="T4" fmla="+- 0 4082 4081"/>
                      <a:gd name="T5" fmla="*/ T4 w 24"/>
                      <a:gd name="T6" fmla="+- 0 2636 2563"/>
                      <a:gd name="T7" fmla="*/ 2636 h 142"/>
                      <a:gd name="T8" fmla="+- 0 4082 4081"/>
                      <a:gd name="T9" fmla="*/ T8 w 24"/>
                      <a:gd name="T10" fmla="+- 0 2645 2563"/>
                      <a:gd name="T11" fmla="*/ 2645 h 142"/>
                      <a:gd name="T12" fmla="+- 0 4106 4081"/>
                      <a:gd name="T13" fmla="*/ T12 w 24"/>
                      <a:gd name="T14" fmla="+- 0 2645 2563"/>
                      <a:gd name="T15" fmla="*/ 2645 h 142"/>
                      <a:gd name="T16" fmla="+- 0 4106 4081"/>
                      <a:gd name="T17" fmla="*/ T16 w 24"/>
                      <a:gd name="T18" fmla="+- 0 2636 2563"/>
                      <a:gd name="T19" fmla="*/ 263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73"/>
                        </a:moveTo>
                        <a:lnTo>
                          <a:pt x="1" y="73"/>
                        </a:lnTo>
                        <a:lnTo>
                          <a:pt x="1" y="82"/>
                        </a:lnTo>
                        <a:lnTo>
                          <a:pt x="25" y="82"/>
                        </a:lnTo>
                        <a:lnTo>
                          <a:pt x="25" y="7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3" name="Freeform 193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630 2563"/>
                      <a:gd name="T3" fmla="*/ 2630 h 142"/>
                      <a:gd name="T4" fmla="+- 0 4081 4081"/>
                      <a:gd name="T5" fmla="*/ T4 w 24"/>
                      <a:gd name="T6" fmla="+- 0 2630 2563"/>
                      <a:gd name="T7" fmla="*/ 2630 h 142"/>
                      <a:gd name="T8" fmla="+- 0 4081 4081"/>
                      <a:gd name="T9" fmla="*/ T8 w 24"/>
                      <a:gd name="T10" fmla="+- 0 2636 2563"/>
                      <a:gd name="T11" fmla="*/ 2636 h 142"/>
                      <a:gd name="T12" fmla="+- 0 4082 4081"/>
                      <a:gd name="T13" fmla="*/ T12 w 24"/>
                      <a:gd name="T14" fmla="+- 0 2636 2563"/>
                      <a:gd name="T15" fmla="*/ 2636 h 142"/>
                      <a:gd name="T16" fmla="+- 0 4082 4081"/>
                      <a:gd name="T17" fmla="*/ T16 w 24"/>
                      <a:gd name="T18" fmla="+- 0 2630 2563"/>
                      <a:gd name="T19" fmla="*/ 263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67"/>
                        </a:moveTo>
                        <a:lnTo>
                          <a:pt x="0" y="67"/>
                        </a:lnTo>
                        <a:lnTo>
                          <a:pt x="0" y="73"/>
                        </a:lnTo>
                        <a:lnTo>
                          <a:pt x="1" y="73"/>
                        </a:lnTo>
                        <a:lnTo>
                          <a:pt x="1" y="6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4" name="Freeform 194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622 2563"/>
                      <a:gd name="T3" fmla="*/ 2622 h 142"/>
                      <a:gd name="T4" fmla="+- 0 4082 4081"/>
                      <a:gd name="T5" fmla="*/ T4 w 24"/>
                      <a:gd name="T6" fmla="+- 0 2622 2563"/>
                      <a:gd name="T7" fmla="*/ 2622 h 142"/>
                      <a:gd name="T8" fmla="+- 0 4082 4081"/>
                      <a:gd name="T9" fmla="*/ T8 w 24"/>
                      <a:gd name="T10" fmla="+- 0 2630 2563"/>
                      <a:gd name="T11" fmla="*/ 2630 h 142"/>
                      <a:gd name="T12" fmla="+- 0 4106 4081"/>
                      <a:gd name="T13" fmla="*/ T12 w 24"/>
                      <a:gd name="T14" fmla="+- 0 2630 2563"/>
                      <a:gd name="T15" fmla="*/ 2630 h 142"/>
                      <a:gd name="T16" fmla="+- 0 4106 4081"/>
                      <a:gd name="T17" fmla="*/ T16 w 24"/>
                      <a:gd name="T18" fmla="+- 0 2622 2563"/>
                      <a:gd name="T19" fmla="*/ 262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59"/>
                        </a:moveTo>
                        <a:lnTo>
                          <a:pt x="1" y="59"/>
                        </a:lnTo>
                        <a:lnTo>
                          <a:pt x="1" y="67"/>
                        </a:lnTo>
                        <a:lnTo>
                          <a:pt x="25" y="67"/>
                        </a:lnTo>
                        <a:lnTo>
                          <a:pt x="25" y="5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5" name="Freeform 195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616 2563"/>
                      <a:gd name="T3" fmla="*/ 2616 h 142"/>
                      <a:gd name="T4" fmla="+- 0 4081 4081"/>
                      <a:gd name="T5" fmla="*/ T4 w 24"/>
                      <a:gd name="T6" fmla="+- 0 2616 2563"/>
                      <a:gd name="T7" fmla="*/ 2616 h 142"/>
                      <a:gd name="T8" fmla="+- 0 4081 4081"/>
                      <a:gd name="T9" fmla="*/ T8 w 24"/>
                      <a:gd name="T10" fmla="+- 0 2622 2563"/>
                      <a:gd name="T11" fmla="*/ 2622 h 142"/>
                      <a:gd name="T12" fmla="+- 0 4082 4081"/>
                      <a:gd name="T13" fmla="*/ T12 w 24"/>
                      <a:gd name="T14" fmla="+- 0 2622 2563"/>
                      <a:gd name="T15" fmla="*/ 2622 h 142"/>
                      <a:gd name="T16" fmla="+- 0 4082 4081"/>
                      <a:gd name="T17" fmla="*/ T16 w 24"/>
                      <a:gd name="T18" fmla="+- 0 2616 2563"/>
                      <a:gd name="T19" fmla="*/ 261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53"/>
                        </a:moveTo>
                        <a:lnTo>
                          <a:pt x="0" y="53"/>
                        </a:lnTo>
                        <a:lnTo>
                          <a:pt x="0" y="59"/>
                        </a:lnTo>
                        <a:lnTo>
                          <a:pt x="1" y="59"/>
                        </a:lnTo>
                        <a:lnTo>
                          <a:pt x="1" y="5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6" name="Freeform 196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607 2563"/>
                      <a:gd name="T3" fmla="*/ 2607 h 142"/>
                      <a:gd name="T4" fmla="+- 0 4082 4081"/>
                      <a:gd name="T5" fmla="*/ T4 w 24"/>
                      <a:gd name="T6" fmla="+- 0 2607 2563"/>
                      <a:gd name="T7" fmla="*/ 2607 h 142"/>
                      <a:gd name="T8" fmla="+- 0 4082 4081"/>
                      <a:gd name="T9" fmla="*/ T8 w 24"/>
                      <a:gd name="T10" fmla="+- 0 2616 2563"/>
                      <a:gd name="T11" fmla="*/ 2616 h 142"/>
                      <a:gd name="T12" fmla="+- 0 4106 4081"/>
                      <a:gd name="T13" fmla="*/ T12 w 24"/>
                      <a:gd name="T14" fmla="+- 0 2616 2563"/>
                      <a:gd name="T15" fmla="*/ 2616 h 142"/>
                      <a:gd name="T16" fmla="+- 0 4106 4081"/>
                      <a:gd name="T17" fmla="*/ T16 w 24"/>
                      <a:gd name="T18" fmla="+- 0 2607 2563"/>
                      <a:gd name="T19" fmla="*/ 260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44"/>
                        </a:moveTo>
                        <a:lnTo>
                          <a:pt x="1" y="44"/>
                        </a:lnTo>
                        <a:lnTo>
                          <a:pt x="1" y="53"/>
                        </a:lnTo>
                        <a:lnTo>
                          <a:pt x="25" y="53"/>
                        </a:lnTo>
                        <a:lnTo>
                          <a:pt x="25" y="4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7" name="Freeform 197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601 2563"/>
                      <a:gd name="T3" fmla="*/ 2601 h 142"/>
                      <a:gd name="T4" fmla="+- 0 4081 4081"/>
                      <a:gd name="T5" fmla="*/ T4 w 24"/>
                      <a:gd name="T6" fmla="+- 0 2601 2563"/>
                      <a:gd name="T7" fmla="*/ 2601 h 142"/>
                      <a:gd name="T8" fmla="+- 0 4081 4081"/>
                      <a:gd name="T9" fmla="*/ T8 w 24"/>
                      <a:gd name="T10" fmla="+- 0 2607 2563"/>
                      <a:gd name="T11" fmla="*/ 2607 h 142"/>
                      <a:gd name="T12" fmla="+- 0 4082 4081"/>
                      <a:gd name="T13" fmla="*/ T12 w 24"/>
                      <a:gd name="T14" fmla="+- 0 2607 2563"/>
                      <a:gd name="T15" fmla="*/ 2607 h 142"/>
                      <a:gd name="T16" fmla="+- 0 4082 4081"/>
                      <a:gd name="T17" fmla="*/ T16 w 24"/>
                      <a:gd name="T18" fmla="+- 0 2601 2563"/>
                      <a:gd name="T19" fmla="*/ 260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38"/>
                        </a:moveTo>
                        <a:lnTo>
                          <a:pt x="0" y="38"/>
                        </a:lnTo>
                        <a:lnTo>
                          <a:pt x="0" y="44"/>
                        </a:lnTo>
                        <a:lnTo>
                          <a:pt x="1" y="44"/>
                        </a:lnTo>
                        <a:lnTo>
                          <a:pt x="1" y="3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8" name="Freeform 198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592 2563"/>
                      <a:gd name="T3" fmla="*/ 2592 h 142"/>
                      <a:gd name="T4" fmla="+- 0 4082 4081"/>
                      <a:gd name="T5" fmla="*/ T4 w 24"/>
                      <a:gd name="T6" fmla="+- 0 2592 2563"/>
                      <a:gd name="T7" fmla="*/ 2592 h 142"/>
                      <a:gd name="T8" fmla="+- 0 4082 4081"/>
                      <a:gd name="T9" fmla="*/ T8 w 24"/>
                      <a:gd name="T10" fmla="+- 0 2601 2563"/>
                      <a:gd name="T11" fmla="*/ 2601 h 142"/>
                      <a:gd name="T12" fmla="+- 0 4106 4081"/>
                      <a:gd name="T13" fmla="*/ T12 w 24"/>
                      <a:gd name="T14" fmla="+- 0 2601 2563"/>
                      <a:gd name="T15" fmla="*/ 2601 h 142"/>
                      <a:gd name="T16" fmla="+- 0 4106 4081"/>
                      <a:gd name="T17" fmla="*/ T16 w 24"/>
                      <a:gd name="T18" fmla="+- 0 2592 2563"/>
                      <a:gd name="T19" fmla="*/ 259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29"/>
                        </a:moveTo>
                        <a:lnTo>
                          <a:pt x="1" y="29"/>
                        </a:lnTo>
                        <a:lnTo>
                          <a:pt x="1" y="38"/>
                        </a:lnTo>
                        <a:lnTo>
                          <a:pt x="25" y="38"/>
                        </a:lnTo>
                        <a:lnTo>
                          <a:pt x="25" y="2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999" name="Freeform 199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586 2563"/>
                      <a:gd name="T3" fmla="*/ 2586 h 142"/>
                      <a:gd name="T4" fmla="+- 0 4081 4081"/>
                      <a:gd name="T5" fmla="*/ T4 w 24"/>
                      <a:gd name="T6" fmla="+- 0 2592 2563"/>
                      <a:gd name="T7" fmla="*/ 2592 h 142"/>
                      <a:gd name="T8" fmla="+- 0 4082 4081"/>
                      <a:gd name="T9" fmla="*/ T8 w 24"/>
                      <a:gd name="T10" fmla="+- 0 2592 2563"/>
                      <a:gd name="T11" fmla="*/ 2592 h 142"/>
                      <a:gd name="T12" fmla="+- 0 4082 4081"/>
                      <a:gd name="T13" fmla="*/ T12 w 24"/>
                      <a:gd name="T14" fmla="+- 0 2586 2563"/>
                      <a:gd name="T15" fmla="*/ 258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</a:cxnLst>
                    <a:rect l="0" t="0" r="r" b="b"/>
                    <a:pathLst>
                      <a:path w="24" h="142">
                        <a:moveTo>
                          <a:pt x="1" y="23"/>
                        </a:moveTo>
                        <a:lnTo>
                          <a:pt x="0" y="29"/>
                        </a:lnTo>
                        <a:lnTo>
                          <a:pt x="1" y="29"/>
                        </a:lnTo>
                        <a:lnTo>
                          <a:pt x="1" y="2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6000" name="Freeform 200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577 2563"/>
                      <a:gd name="T3" fmla="*/ 2577 h 142"/>
                      <a:gd name="T4" fmla="+- 0 4082 4081"/>
                      <a:gd name="T5" fmla="*/ T4 w 24"/>
                      <a:gd name="T6" fmla="+- 0 2577 2563"/>
                      <a:gd name="T7" fmla="*/ 2577 h 142"/>
                      <a:gd name="T8" fmla="+- 0 4082 4081"/>
                      <a:gd name="T9" fmla="*/ T8 w 24"/>
                      <a:gd name="T10" fmla="+- 0 2586 2563"/>
                      <a:gd name="T11" fmla="*/ 2586 h 142"/>
                      <a:gd name="T12" fmla="+- 0 4106 4081"/>
                      <a:gd name="T13" fmla="*/ T12 w 24"/>
                      <a:gd name="T14" fmla="+- 0 2586 2563"/>
                      <a:gd name="T15" fmla="*/ 2586 h 142"/>
                      <a:gd name="T16" fmla="+- 0 4106 4081"/>
                      <a:gd name="T17" fmla="*/ T16 w 24"/>
                      <a:gd name="T18" fmla="+- 0 2577 2563"/>
                      <a:gd name="T19" fmla="*/ 257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14"/>
                        </a:moveTo>
                        <a:lnTo>
                          <a:pt x="1" y="14"/>
                        </a:lnTo>
                        <a:lnTo>
                          <a:pt x="1" y="23"/>
                        </a:lnTo>
                        <a:lnTo>
                          <a:pt x="25" y="23"/>
                        </a:lnTo>
                        <a:lnTo>
                          <a:pt x="25" y="1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6001" name="Freeform 201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572 2563"/>
                      <a:gd name="T3" fmla="*/ 2572 h 142"/>
                      <a:gd name="T4" fmla="+- 0 4081 4081"/>
                      <a:gd name="T5" fmla="*/ T4 w 24"/>
                      <a:gd name="T6" fmla="+- 0 2577 2563"/>
                      <a:gd name="T7" fmla="*/ 2577 h 142"/>
                      <a:gd name="T8" fmla="+- 0 4082 4081"/>
                      <a:gd name="T9" fmla="*/ T8 w 24"/>
                      <a:gd name="T10" fmla="+- 0 2572 2563"/>
                      <a:gd name="T11" fmla="*/ 257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24" h="142">
                        <a:moveTo>
                          <a:pt x="1" y="9"/>
                        </a:moveTo>
                        <a:lnTo>
                          <a:pt x="0" y="14"/>
                        </a:lnTo>
                        <a:lnTo>
                          <a:pt x="1" y="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6002" name="Freeform 202"/>
                  <p:cNvSpPr>
                    <a:spLocks/>
                  </p:cNvSpPr>
                  <p:nvPr/>
                </p:nvSpPr>
                <p:spPr bwMode="auto">
                  <a:xfrm>
                    <a:off x="4081" y="256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563 2563"/>
                      <a:gd name="T3" fmla="*/ 2563 h 142"/>
                      <a:gd name="T4" fmla="+- 0 4082 4081"/>
                      <a:gd name="T5" fmla="*/ T4 w 24"/>
                      <a:gd name="T6" fmla="+- 0 2563 2563"/>
                      <a:gd name="T7" fmla="*/ 2563 h 142"/>
                      <a:gd name="T8" fmla="+- 0 4082 4081"/>
                      <a:gd name="T9" fmla="*/ T8 w 24"/>
                      <a:gd name="T10" fmla="+- 0 2572 2563"/>
                      <a:gd name="T11" fmla="*/ 2572 h 142"/>
                      <a:gd name="T12" fmla="+- 0 4106 4081"/>
                      <a:gd name="T13" fmla="*/ T12 w 24"/>
                      <a:gd name="T14" fmla="+- 0 2572 2563"/>
                      <a:gd name="T15" fmla="*/ 2572 h 142"/>
                      <a:gd name="T16" fmla="+- 0 4106 4081"/>
                      <a:gd name="T17" fmla="*/ T16 w 24"/>
                      <a:gd name="T18" fmla="+- 0 2563 2563"/>
                      <a:gd name="T19" fmla="*/ 2563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0"/>
                        </a:moveTo>
                        <a:lnTo>
                          <a:pt x="1" y="0"/>
                        </a:lnTo>
                        <a:lnTo>
                          <a:pt x="1" y="9"/>
                        </a:lnTo>
                        <a:lnTo>
                          <a:pt x="25" y="9"/>
                        </a:lnTo>
                        <a:lnTo>
                          <a:pt x="25" y="0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93" name="Group 203"/>
                <p:cNvGrpSpPr>
                  <a:grpSpLocks/>
                </p:cNvGrpSpPr>
                <p:nvPr/>
              </p:nvGrpSpPr>
              <p:grpSpPr bwMode="auto">
                <a:xfrm>
                  <a:off x="4158" y="6131"/>
                  <a:ext cx="17" cy="37"/>
                  <a:chOff x="4158" y="2666"/>
                  <a:chExt cx="17" cy="37"/>
                </a:xfrm>
              </p:grpSpPr>
              <p:sp>
                <p:nvSpPr>
                  <p:cNvPr id="545987" name="Freeform 204"/>
                  <p:cNvSpPr>
                    <a:spLocks/>
                  </p:cNvSpPr>
                  <p:nvPr/>
                </p:nvSpPr>
                <p:spPr bwMode="auto">
                  <a:xfrm>
                    <a:off x="4158" y="2666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703 2666"/>
                      <a:gd name="T3" fmla="*/ 2703 h 37"/>
                      <a:gd name="T4" fmla="+- 0 4158 4158"/>
                      <a:gd name="T5" fmla="*/ T4 w 17"/>
                      <a:gd name="T6" fmla="+- 0 2666 2666"/>
                      <a:gd name="T7" fmla="*/ 2666 h 37"/>
                      <a:gd name="T8" fmla="+- 0 4175 4158"/>
                      <a:gd name="T9" fmla="*/ T8 w 17"/>
                      <a:gd name="T10" fmla="+- 0 2666 2666"/>
                      <a:gd name="T11" fmla="*/ 2666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37"/>
                        </a:moveTo>
                        <a:lnTo>
                          <a:pt x="0" y="0"/>
                        </a:lnTo>
                        <a:lnTo>
                          <a:pt x="17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94" name="Group 205"/>
                <p:cNvGrpSpPr>
                  <a:grpSpLocks/>
                </p:cNvGrpSpPr>
                <p:nvPr/>
              </p:nvGrpSpPr>
              <p:grpSpPr bwMode="auto">
                <a:xfrm>
                  <a:off x="4158" y="5999"/>
                  <a:ext cx="17" cy="37"/>
                  <a:chOff x="4158" y="2534"/>
                  <a:chExt cx="17" cy="37"/>
                </a:xfrm>
              </p:grpSpPr>
              <p:sp>
                <p:nvSpPr>
                  <p:cNvPr id="545986" name="Freeform 206"/>
                  <p:cNvSpPr>
                    <a:spLocks/>
                  </p:cNvSpPr>
                  <p:nvPr/>
                </p:nvSpPr>
                <p:spPr bwMode="auto">
                  <a:xfrm>
                    <a:off x="4158" y="2534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534 2534"/>
                      <a:gd name="T3" fmla="*/ 2534 h 37"/>
                      <a:gd name="T4" fmla="+- 0 4158 4158"/>
                      <a:gd name="T5" fmla="*/ T4 w 17"/>
                      <a:gd name="T6" fmla="+- 0 2571 2534"/>
                      <a:gd name="T7" fmla="*/ 2571 h 37"/>
                      <a:gd name="T8" fmla="+- 0 4175 4158"/>
                      <a:gd name="T9" fmla="*/ T8 w 17"/>
                      <a:gd name="T10" fmla="+- 0 2571 2534"/>
                      <a:gd name="T11" fmla="*/ 2571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0"/>
                        </a:moveTo>
                        <a:lnTo>
                          <a:pt x="0" y="37"/>
                        </a:lnTo>
                        <a:lnTo>
                          <a:pt x="17" y="37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95" name="Group 207"/>
                <p:cNvGrpSpPr>
                  <a:grpSpLocks/>
                </p:cNvGrpSpPr>
                <p:nvPr/>
              </p:nvGrpSpPr>
              <p:grpSpPr bwMode="auto">
                <a:xfrm>
                  <a:off x="4188" y="6036"/>
                  <a:ext cx="2" cy="96"/>
                  <a:chOff x="4188" y="2571"/>
                  <a:chExt cx="2" cy="96"/>
                </a:xfrm>
              </p:grpSpPr>
              <p:sp>
                <p:nvSpPr>
                  <p:cNvPr id="545985" name="Freeform 208"/>
                  <p:cNvSpPr>
                    <a:spLocks/>
                  </p:cNvSpPr>
                  <p:nvPr/>
                </p:nvSpPr>
                <p:spPr bwMode="auto">
                  <a:xfrm>
                    <a:off x="4188" y="2571"/>
                    <a:ext cx="2" cy="96"/>
                  </a:xfrm>
                  <a:custGeom>
                    <a:avLst/>
                    <a:gdLst>
                      <a:gd name="T0" fmla="+- 0 2667 2571"/>
                      <a:gd name="T1" fmla="*/ 2667 h 96"/>
                      <a:gd name="T2" fmla="+- 0 2571 2571"/>
                      <a:gd name="T3" fmla="*/ 2571 h 96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96">
                        <a:moveTo>
                          <a:pt x="0" y="96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4" name="Group 209"/>
                <p:cNvGrpSpPr>
                  <a:grpSpLocks/>
                </p:cNvGrpSpPr>
                <p:nvPr/>
              </p:nvGrpSpPr>
              <p:grpSpPr bwMode="auto">
                <a:xfrm>
                  <a:off x="4193" y="6212"/>
                  <a:ext cx="28" cy="57"/>
                  <a:chOff x="4193" y="2747"/>
                  <a:chExt cx="28" cy="57"/>
                </a:xfrm>
              </p:grpSpPr>
              <p:sp>
                <p:nvSpPr>
                  <p:cNvPr id="545984" name="Freeform 210"/>
                  <p:cNvSpPr>
                    <a:spLocks/>
                  </p:cNvSpPr>
                  <p:nvPr/>
                </p:nvSpPr>
                <p:spPr bwMode="auto">
                  <a:xfrm>
                    <a:off x="4193" y="2747"/>
                    <a:ext cx="28" cy="57"/>
                  </a:xfrm>
                  <a:custGeom>
                    <a:avLst/>
                    <a:gdLst>
                      <a:gd name="T0" fmla="+- 0 4220 4193"/>
                      <a:gd name="T1" fmla="*/ T0 w 28"/>
                      <a:gd name="T2" fmla="+- 0 2747 2747"/>
                      <a:gd name="T3" fmla="*/ 2747 h 57"/>
                      <a:gd name="T4" fmla="+- 0 4194 4193"/>
                      <a:gd name="T5" fmla="*/ T4 w 28"/>
                      <a:gd name="T6" fmla="+- 0 2747 2747"/>
                      <a:gd name="T7" fmla="*/ 2747 h 57"/>
                      <a:gd name="T8" fmla="+- 0 4193 4193"/>
                      <a:gd name="T9" fmla="*/ T8 w 28"/>
                      <a:gd name="T10" fmla="+- 0 2748 2747"/>
                      <a:gd name="T11" fmla="*/ 2748 h 57"/>
                      <a:gd name="T12" fmla="+- 0 4193 4193"/>
                      <a:gd name="T13" fmla="*/ T12 w 28"/>
                      <a:gd name="T14" fmla="+- 0 2804 2747"/>
                      <a:gd name="T15" fmla="*/ 2804 h 57"/>
                      <a:gd name="T16" fmla="+- 0 4194 4193"/>
                      <a:gd name="T17" fmla="*/ T16 w 28"/>
                      <a:gd name="T18" fmla="+- 0 2804 2747"/>
                      <a:gd name="T19" fmla="*/ 2804 h 57"/>
                      <a:gd name="T20" fmla="+- 0 4220 4193"/>
                      <a:gd name="T21" fmla="*/ T20 w 28"/>
                      <a:gd name="T22" fmla="+- 0 2804 2747"/>
                      <a:gd name="T23" fmla="*/ 2804 h 57"/>
                      <a:gd name="T24" fmla="+- 0 4220 4193"/>
                      <a:gd name="T25" fmla="*/ T24 w 28"/>
                      <a:gd name="T26" fmla="+- 0 2804 2747"/>
                      <a:gd name="T27" fmla="*/ 2804 h 57"/>
                      <a:gd name="T28" fmla="+- 0 4220 4193"/>
                      <a:gd name="T29" fmla="*/ T28 w 28"/>
                      <a:gd name="T30" fmla="+- 0 2748 2747"/>
                      <a:gd name="T31" fmla="*/ 2748 h 57"/>
                      <a:gd name="T32" fmla="+- 0 4220 4193"/>
                      <a:gd name="T33" fmla="*/ T32 w 28"/>
                      <a:gd name="T34" fmla="+- 0 2747 2747"/>
                      <a:gd name="T35" fmla="*/ 2747 h 5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28" h="57">
                        <a:moveTo>
                          <a:pt x="27" y="0"/>
                        </a:move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57"/>
                        </a:lnTo>
                        <a:lnTo>
                          <a:pt x="1" y="57"/>
                        </a:lnTo>
                        <a:lnTo>
                          <a:pt x="27" y="57"/>
                        </a:lnTo>
                        <a:lnTo>
                          <a:pt x="27" y="1"/>
                        </a:lnTo>
                        <a:lnTo>
                          <a:pt x="27" y="0"/>
                        </a:lnTo>
                        <a:close/>
                      </a:path>
                    </a:pathLst>
                  </a:custGeom>
                  <a:solidFill>
                    <a:srgbClr val="1D1D1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5" name="Group 211"/>
                <p:cNvGrpSpPr>
                  <a:grpSpLocks/>
                </p:cNvGrpSpPr>
                <p:nvPr/>
              </p:nvGrpSpPr>
              <p:grpSpPr bwMode="auto">
                <a:xfrm>
                  <a:off x="4204" y="6227"/>
                  <a:ext cx="6" cy="6"/>
                  <a:chOff x="4204" y="2762"/>
                  <a:chExt cx="6" cy="6"/>
                </a:xfrm>
              </p:grpSpPr>
              <p:sp>
                <p:nvSpPr>
                  <p:cNvPr id="545855" name="Freeform 212"/>
                  <p:cNvSpPr>
                    <a:spLocks/>
                  </p:cNvSpPr>
                  <p:nvPr/>
                </p:nvSpPr>
                <p:spPr bwMode="auto">
                  <a:xfrm>
                    <a:off x="4204" y="2762"/>
                    <a:ext cx="6" cy="6"/>
                  </a:xfrm>
                  <a:custGeom>
                    <a:avLst/>
                    <a:gdLst>
                      <a:gd name="T0" fmla="+- 0 4208 4204"/>
                      <a:gd name="T1" fmla="*/ T0 w 6"/>
                      <a:gd name="T2" fmla="+- 0 2762 2762"/>
                      <a:gd name="T3" fmla="*/ 2762 h 6"/>
                      <a:gd name="T4" fmla="+- 0 4205 4204"/>
                      <a:gd name="T5" fmla="*/ T4 w 6"/>
                      <a:gd name="T6" fmla="+- 0 2762 2762"/>
                      <a:gd name="T7" fmla="*/ 2762 h 6"/>
                      <a:gd name="T8" fmla="+- 0 4204 4204"/>
                      <a:gd name="T9" fmla="*/ T8 w 6"/>
                      <a:gd name="T10" fmla="+- 0 2764 2762"/>
                      <a:gd name="T11" fmla="*/ 2764 h 6"/>
                      <a:gd name="T12" fmla="+- 0 4204 4204"/>
                      <a:gd name="T13" fmla="*/ T12 w 6"/>
                      <a:gd name="T14" fmla="+- 0 2767 2762"/>
                      <a:gd name="T15" fmla="*/ 2767 h 6"/>
                      <a:gd name="T16" fmla="+- 0 4205 4204"/>
                      <a:gd name="T17" fmla="*/ T16 w 6"/>
                      <a:gd name="T18" fmla="+- 0 2768 2762"/>
                      <a:gd name="T19" fmla="*/ 2768 h 6"/>
                      <a:gd name="T20" fmla="+- 0 4208 4204"/>
                      <a:gd name="T21" fmla="*/ T20 w 6"/>
                      <a:gd name="T22" fmla="+- 0 2768 2762"/>
                      <a:gd name="T23" fmla="*/ 2768 h 6"/>
                      <a:gd name="T24" fmla="+- 0 4210 4204"/>
                      <a:gd name="T25" fmla="*/ T24 w 6"/>
                      <a:gd name="T26" fmla="+- 0 2767 2762"/>
                      <a:gd name="T27" fmla="*/ 2767 h 6"/>
                      <a:gd name="T28" fmla="+- 0 4210 4204"/>
                      <a:gd name="T29" fmla="*/ T28 w 6"/>
                      <a:gd name="T30" fmla="+- 0 2764 2762"/>
                      <a:gd name="T31" fmla="*/ 2764 h 6"/>
                      <a:gd name="T32" fmla="+- 0 4208 4204"/>
                      <a:gd name="T33" fmla="*/ T32 w 6"/>
                      <a:gd name="T34" fmla="+- 0 2762 2762"/>
                      <a:gd name="T35" fmla="*/ 2762 h 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</a:cxnLst>
                    <a:rect l="0" t="0" r="r" b="b"/>
                    <a:pathLst>
                      <a:path w="6" h="6">
                        <a:moveTo>
                          <a:pt x="4" y="0"/>
                        </a:moveTo>
                        <a:lnTo>
                          <a:pt x="1" y="0"/>
                        </a:lnTo>
                        <a:lnTo>
                          <a:pt x="0" y="2"/>
                        </a:lnTo>
                        <a:lnTo>
                          <a:pt x="0" y="5"/>
                        </a:lnTo>
                        <a:lnTo>
                          <a:pt x="1" y="6"/>
                        </a:lnTo>
                        <a:lnTo>
                          <a:pt x="4" y="6"/>
                        </a:lnTo>
                        <a:lnTo>
                          <a:pt x="6" y="5"/>
                        </a:lnTo>
                        <a:lnTo>
                          <a:pt x="6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pic>
                <p:nvPicPr>
                  <p:cNvPr id="546005" name="Picture 213"/>
                  <p:cNvPicPr>
                    <a:picLocks noChangeAspect="1" noChangeArrowheads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76" y="2766"/>
                    <a:ext cx="69" cy="18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545826" name="Group 214"/>
                <p:cNvGrpSpPr>
                  <a:grpSpLocks/>
                </p:cNvGrpSpPr>
                <p:nvPr/>
              </p:nvGrpSpPr>
              <p:grpSpPr bwMode="auto">
                <a:xfrm>
                  <a:off x="4076" y="6231"/>
                  <a:ext cx="141" cy="186"/>
                  <a:chOff x="4076" y="2766"/>
                  <a:chExt cx="141" cy="186"/>
                </a:xfrm>
              </p:grpSpPr>
              <p:sp>
                <p:nvSpPr>
                  <p:cNvPr id="545854" name="Freeform 215"/>
                  <p:cNvSpPr>
                    <a:spLocks/>
                  </p:cNvSpPr>
                  <p:nvPr/>
                </p:nvSpPr>
                <p:spPr bwMode="auto">
                  <a:xfrm>
                    <a:off x="4076" y="2766"/>
                    <a:ext cx="141" cy="186"/>
                  </a:xfrm>
                  <a:custGeom>
                    <a:avLst/>
                    <a:gdLst>
                      <a:gd name="T0" fmla="+- 0 4076 4076"/>
                      <a:gd name="T1" fmla="*/ T0 w 141"/>
                      <a:gd name="T2" fmla="+- 0 2860 2766"/>
                      <a:gd name="T3" fmla="*/ 2860 h 186"/>
                      <a:gd name="T4" fmla="+- 0 4076 4076"/>
                      <a:gd name="T5" fmla="*/ T4 w 141"/>
                      <a:gd name="T6" fmla="+- 0 2774 2766"/>
                      <a:gd name="T7" fmla="*/ 2774 h 186"/>
                      <a:gd name="T8" fmla="+- 0 4107 4076"/>
                      <a:gd name="T9" fmla="*/ T8 w 141"/>
                      <a:gd name="T10" fmla="+- 0 2774 2766"/>
                      <a:gd name="T11" fmla="*/ 2774 h 186"/>
                      <a:gd name="T12" fmla="+- 0 4107 4076"/>
                      <a:gd name="T13" fmla="*/ T12 w 141"/>
                      <a:gd name="T14" fmla="+- 0 2766 2766"/>
                      <a:gd name="T15" fmla="*/ 2766 h 186"/>
                      <a:gd name="T16" fmla="+- 0 4145 4076"/>
                      <a:gd name="T17" fmla="*/ T16 w 141"/>
                      <a:gd name="T18" fmla="+- 0 2766 2766"/>
                      <a:gd name="T19" fmla="*/ 2766 h 186"/>
                      <a:gd name="T20" fmla="+- 0 4145 4076"/>
                      <a:gd name="T21" fmla="*/ T20 w 141"/>
                      <a:gd name="T22" fmla="+- 0 2774 2766"/>
                      <a:gd name="T23" fmla="*/ 2774 h 186"/>
                      <a:gd name="T24" fmla="+- 0 4175 4076"/>
                      <a:gd name="T25" fmla="*/ T24 w 141"/>
                      <a:gd name="T26" fmla="+- 0 2774 2766"/>
                      <a:gd name="T27" fmla="*/ 2774 h 186"/>
                      <a:gd name="T28" fmla="+- 0 4175 4076"/>
                      <a:gd name="T29" fmla="*/ T28 w 141"/>
                      <a:gd name="T30" fmla="+- 0 2811 2766"/>
                      <a:gd name="T31" fmla="*/ 2811 h 186"/>
                      <a:gd name="T32" fmla="+- 0 4198 4076"/>
                      <a:gd name="T33" fmla="*/ T32 w 141"/>
                      <a:gd name="T34" fmla="+- 0 2811 2766"/>
                      <a:gd name="T35" fmla="*/ 2811 h 186"/>
                      <a:gd name="T36" fmla="+- 0 4198 4076"/>
                      <a:gd name="T37" fmla="*/ T36 w 141"/>
                      <a:gd name="T38" fmla="+- 0 2830 2766"/>
                      <a:gd name="T39" fmla="*/ 2830 h 186"/>
                      <a:gd name="T40" fmla="+- 0 4217 4076"/>
                      <a:gd name="T41" fmla="*/ T40 w 141"/>
                      <a:gd name="T42" fmla="+- 0 2830 2766"/>
                      <a:gd name="T43" fmla="*/ 2830 h 186"/>
                      <a:gd name="T44" fmla="+- 0 4217 4076"/>
                      <a:gd name="T45" fmla="*/ T44 w 141"/>
                      <a:gd name="T46" fmla="+- 0 2859 2766"/>
                      <a:gd name="T47" fmla="*/ 2859 h 186"/>
                      <a:gd name="T48" fmla="+- 0 4217 4076"/>
                      <a:gd name="T49" fmla="*/ T48 w 141"/>
                      <a:gd name="T50" fmla="+- 0 2888 2766"/>
                      <a:gd name="T51" fmla="*/ 2888 h 186"/>
                      <a:gd name="T52" fmla="+- 0 4198 4076"/>
                      <a:gd name="T53" fmla="*/ T52 w 141"/>
                      <a:gd name="T54" fmla="+- 0 2888 2766"/>
                      <a:gd name="T55" fmla="*/ 2888 h 186"/>
                      <a:gd name="T56" fmla="+- 0 4198 4076"/>
                      <a:gd name="T57" fmla="*/ T56 w 141"/>
                      <a:gd name="T58" fmla="+- 0 2906 2766"/>
                      <a:gd name="T59" fmla="*/ 2906 h 186"/>
                      <a:gd name="T60" fmla="+- 0 4175 4076"/>
                      <a:gd name="T61" fmla="*/ T60 w 141"/>
                      <a:gd name="T62" fmla="+- 0 2906 2766"/>
                      <a:gd name="T63" fmla="*/ 2906 h 186"/>
                      <a:gd name="T64" fmla="+- 0 4175 4076"/>
                      <a:gd name="T65" fmla="*/ T64 w 141"/>
                      <a:gd name="T66" fmla="+- 0 2944 2766"/>
                      <a:gd name="T67" fmla="*/ 2944 h 186"/>
                      <a:gd name="T68" fmla="+- 0 4145 4076"/>
                      <a:gd name="T69" fmla="*/ T68 w 141"/>
                      <a:gd name="T70" fmla="+- 0 2944 2766"/>
                      <a:gd name="T71" fmla="*/ 2944 h 186"/>
                      <a:gd name="T72" fmla="+- 0 4145 4076"/>
                      <a:gd name="T73" fmla="*/ T72 w 141"/>
                      <a:gd name="T74" fmla="+- 0 2952 2766"/>
                      <a:gd name="T75" fmla="*/ 2952 h 186"/>
                      <a:gd name="T76" fmla="+- 0 4107 4076"/>
                      <a:gd name="T77" fmla="*/ T76 w 141"/>
                      <a:gd name="T78" fmla="+- 0 2952 2766"/>
                      <a:gd name="T79" fmla="*/ 2952 h 186"/>
                      <a:gd name="T80" fmla="+- 0 4107 4076"/>
                      <a:gd name="T81" fmla="*/ T80 w 141"/>
                      <a:gd name="T82" fmla="+- 0 2944 2766"/>
                      <a:gd name="T83" fmla="*/ 2944 h 186"/>
                      <a:gd name="T84" fmla="+- 0 4076 4076"/>
                      <a:gd name="T85" fmla="*/ T84 w 141"/>
                      <a:gd name="T86" fmla="+- 0 2944 2766"/>
                      <a:gd name="T87" fmla="*/ 2944 h 186"/>
                      <a:gd name="T88" fmla="+- 0 4076 4076"/>
                      <a:gd name="T89" fmla="*/ T88 w 141"/>
                      <a:gd name="T90" fmla="+- 0 2860 2766"/>
                      <a:gd name="T91" fmla="*/ 2860 h 186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  <a:cxn ang="0">
                        <a:pos x="T29" y="T31"/>
                      </a:cxn>
                      <a:cxn ang="0">
                        <a:pos x="T33" y="T35"/>
                      </a:cxn>
                      <a:cxn ang="0">
                        <a:pos x="T37" y="T39"/>
                      </a:cxn>
                      <a:cxn ang="0">
                        <a:pos x="T41" y="T43"/>
                      </a:cxn>
                      <a:cxn ang="0">
                        <a:pos x="T45" y="T47"/>
                      </a:cxn>
                      <a:cxn ang="0">
                        <a:pos x="T49" y="T51"/>
                      </a:cxn>
                      <a:cxn ang="0">
                        <a:pos x="T53" y="T55"/>
                      </a:cxn>
                      <a:cxn ang="0">
                        <a:pos x="T57" y="T59"/>
                      </a:cxn>
                      <a:cxn ang="0">
                        <a:pos x="T61" y="T63"/>
                      </a:cxn>
                      <a:cxn ang="0">
                        <a:pos x="T65" y="T67"/>
                      </a:cxn>
                      <a:cxn ang="0">
                        <a:pos x="T69" y="T71"/>
                      </a:cxn>
                      <a:cxn ang="0">
                        <a:pos x="T73" y="T75"/>
                      </a:cxn>
                      <a:cxn ang="0">
                        <a:pos x="T77" y="T79"/>
                      </a:cxn>
                      <a:cxn ang="0">
                        <a:pos x="T81" y="T83"/>
                      </a:cxn>
                      <a:cxn ang="0">
                        <a:pos x="T85" y="T87"/>
                      </a:cxn>
                      <a:cxn ang="0">
                        <a:pos x="T89" y="T91"/>
                      </a:cxn>
                    </a:cxnLst>
                    <a:rect l="0" t="0" r="r" b="b"/>
                    <a:pathLst>
                      <a:path w="141" h="186">
                        <a:moveTo>
                          <a:pt x="0" y="94"/>
                        </a:moveTo>
                        <a:lnTo>
                          <a:pt x="0" y="8"/>
                        </a:lnTo>
                        <a:lnTo>
                          <a:pt x="31" y="8"/>
                        </a:lnTo>
                        <a:lnTo>
                          <a:pt x="31" y="0"/>
                        </a:lnTo>
                        <a:lnTo>
                          <a:pt x="69" y="0"/>
                        </a:lnTo>
                        <a:lnTo>
                          <a:pt x="69" y="8"/>
                        </a:lnTo>
                        <a:lnTo>
                          <a:pt x="99" y="8"/>
                        </a:lnTo>
                        <a:lnTo>
                          <a:pt x="99" y="45"/>
                        </a:lnTo>
                        <a:lnTo>
                          <a:pt x="122" y="45"/>
                        </a:lnTo>
                        <a:lnTo>
                          <a:pt x="122" y="64"/>
                        </a:lnTo>
                        <a:lnTo>
                          <a:pt x="141" y="64"/>
                        </a:lnTo>
                        <a:lnTo>
                          <a:pt x="141" y="93"/>
                        </a:lnTo>
                        <a:lnTo>
                          <a:pt x="141" y="122"/>
                        </a:lnTo>
                        <a:lnTo>
                          <a:pt x="122" y="122"/>
                        </a:lnTo>
                        <a:lnTo>
                          <a:pt x="122" y="140"/>
                        </a:lnTo>
                        <a:lnTo>
                          <a:pt x="99" y="140"/>
                        </a:lnTo>
                        <a:lnTo>
                          <a:pt x="99" y="178"/>
                        </a:lnTo>
                        <a:lnTo>
                          <a:pt x="69" y="178"/>
                        </a:lnTo>
                        <a:lnTo>
                          <a:pt x="69" y="186"/>
                        </a:lnTo>
                        <a:lnTo>
                          <a:pt x="31" y="186"/>
                        </a:lnTo>
                        <a:lnTo>
                          <a:pt x="31" y="178"/>
                        </a:lnTo>
                        <a:lnTo>
                          <a:pt x="0" y="178"/>
                        </a:lnTo>
                        <a:lnTo>
                          <a:pt x="0" y="94"/>
                        </a:lnTo>
                        <a:close/>
                      </a:path>
                    </a:pathLst>
                  </a:custGeom>
                  <a:noFill/>
                  <a:ln w="1575">
                    <a:solidFill>
                      <a:srgbClr val="2E1414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7" name="Group 216"/>
                <p:cNvGrpSpPr>
                  <a:grpSpLocks/>
                </p:cNvGrpSpPr>
                <p:nvPr/>
              </p:nvGrpSpPr>
              <p:grpSpPr bwMode="auto">
                <a:xfrm>
                  <a:off x="4107" y="6239"/>
                  <a:ext cx="34" cy="170"/>
                  <a:chOff x="4107" y="2774"/>
                  <a:chExt cx="34" cy="170"/>
                </a:xfrm>
              </p:grpSpPr>
              <p:sp>
                <p:nvSpPr>
                  <p:cNvPr id="545853" name="Freeform 217"/>
                  <p:cNvSpPr>
                    <a:spLocks/>
                  </p:cNvSpPr>
                  <p:nvPr/>
                </p:nvSpPr>
                <p:spPr bwMode="auto">
                  <a:xfrm>
                    <a:off x="4107" y="2774"/>
                    <a:ext cx="34" cy="170"/>
                  </a:xfrm>
                  <a:custGeom>
                    <a:avLst/>
                    <a:gdLst>
                      <a:gd name="T0" fmla="+- 0 4107 4107"/>
                      <a:gd name="T1" fmla="*/ T0 w 34"/>
                      <a:gd name="T2" fmla="+- 0 2774 2774"/>
                      <a:gd name="T3" fmla="*/ 2774 h 170"/>
                      <a:gd name="T4" fmla="+- 0 4107 4107"/>
                      <a:gd name="T5" fmla="*/ T4 w 34"/>
                      <a:gd name="T6" fmla="+- 0 2797 2774"/>
                      <a:gd name="T7" fmla="*/ 2797 h 170"/>
                      <a:gd name="T8" fmla="+- 0 4141 4107"/>
                      <a:gd name="T9" fmla="*/ T8 w 34"/>
                      <a:gd name="T10" fmla="+- 0 2797 2774"/>
                      <a:gd name="T11" fmla="*/ 2797 h 170"/>
                      <a:gd name="T12" fmla="+- 0 4141 4107"/>
                      <a:gd name="T13" fmla="*/ T12 w 34"/>
                      <a:gd name="T14" fmla="+- 0 2859 2774"/>
                      <a:gd name="T15" fmla="*/ 2859 h 170"/>
                      <a:gd name="T16" fmla="+- 0 4141 4107"/>
                      <a:gd name="T17" fmla="*/ T16 w 34"/>
                      <a:gd name="T18" fmla="+- 0 2921 2774"/>
                      <a:gd name="T19" fmla="*/ 2921 h 170"/>
                      <a:gd name="T20" fmla="+- 0 4107 4107"/>
                      <a:gd name="T21" fmla="*/ T20 w 34"/>
                      <a:gd name="T22" fmla="+- 0 2921 2774"/>
                      <a:gd name="T23" fmla="*/ 2921 h 170"/>
                      <a:gd name="T24" fmla="+- 0 4107 4107"/>
                      <a:gd name="T25" fmla="*/ T24 w 34"/>
                      <a:gd name="T26" fmla="+- 0 2944 2774"/>
                      <a:gd name="T27" fmla="*/ 2944 h 170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  <a:cxn ang="0">
                        <a:pos x="T25" y="T27"/>
                      </a:cxn>
                    </a:cxnLst>
                    <a:rect l="0" t="0" r="r" b="b"/>
                    <a:pathLst>
                      <a:path w="34" h="170">
                        <a:moveTo>
                          <a:pt x="0" y="0"/>
                        </a:moveTo>
                        <a:lnTo>
                          <a:pt x="0" y="23"/>
                        </a:lnTo>
                        <a:lnTo>
                          <a:pt x="34" y="23"/>
                        </a:lnTo>
                        <a:lnTo>
                          <a:pt x="34" y="85"/>
                        </a:lnTo>
                        <a:lnTo>
                          <a:pt x="34" y="147"/>
                        </a:lnTo>
                        <a:lnTo>
                          <a:pt x="0" y="147"/>
                        </a:lnTo>
                        <a:lnTo>
                          <a:pt x="0" y="17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8" name="Group 218"/>
                <p:cNvGrpSpPr>
                  <a:grpSpLocks/>
                </p:cNvGrpSpPr>
                <p:nvPr/>
              </p:nvGrpSpPr>
              <p:grpSpPr bwMode="auto">
                <a:xfrm>
                  <a:off x="4090" y="6239"/>
                  <a:ext cx="2" cy="169"/>
                  <a:chOff x="4090" y="2774"/>
                  <a:chExt cx="2" cy="169"/>
                </a:xfrm>
              </p:grpSpPr>
              <p:sp>
                <p:nvSpPr>
                  <p:cNvPr id="545852" name="Freeform 219"/>
                  <p:cNvSpPr>
                    <a:spLocks/>
                  </p:cNvSpPr>
                  <p:nvPr/>
                </p:nvSpPr>
                <p:spPr bwMode="auto">
                  <a:xfrm>
                    <a:off x="4090" y="2774"/>
                    <a:ext cx="2" cy="169"/>
                  </a:xfrm>
                  <a:custGeom>
                    <a:avLst/>
                    <a:gdLst>
                      <a:gd name="T0" fmla="+- 0 2943 2774"/>
                      <a:gd name="T1" fmla="*/ 2943 h 169"/>
                      <a:gd name="T2" fmla="+- 0 2774 2774"/>
                      <a:gd name="T3" fmla="*/ 2774 h 169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169">
                        <a:moveTo>
                          <a:pt x="0" y="169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29" name="Group 220"/>
                <p:cNvGrpSpPr>
                  <a:grpSpLocks/>
                </p:cNvGrpSpPr>
                <p:nvPr/>
              </p:nvGrpSpPr>
              <p:grpSpPr bwMode="auto">
                <a:xfrm>
                  <a:off x="4081" y="6268"/>
                  <a:ext cx="24" cy="142"/>
                  <a:chOff x="4081" y="2803"/>
                  <a:chExt cx="24" cy="142"/>
                </a:xfrm>
              </p:grpSpPr>
              <p:sp>
                <p:nvSpPr>
                  <p:cNvPr id="545836" name="Freeform 221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906 2803"/>
                      <a:gd name="T3" fmla="*/ 2906 h 142"/>
                      <a:gd name="T4" fmla="+- 0 4082 4081"/>
                      <a:gd name="T5" fmla="*/ T4 w 24"/>
                      <a:gd name="T6" fmla="+- 0 2906 2803"/>
                      <a:gd name="T7" fmla="*/ 2906 h 142"/>
                      <a:gd name="T8" fmla="+- 0 4082 4081"/>
                      <a:gd name="T9" fmla="*/ T8 w 24"/>
                      <a:gd name="T10" fmla="+- 0 2945 2803"/>
                      <a:gd name="T11" fmla="*/ 2945 h 142"/>
                      <a:gd name="T12" fmla="+- 0 4082 4081"/>
                      <a:gd name="T13" fmla="*/ T12 w 24"/>
                      <a:gd name="T14" fmla="+- 0 2914 2803"/>
                      <a:gd name="T15" fmla="*/ 2914 h 142"/>
                      <a:gd name="T16" fmla="+- 0 4106 4081"/>
                      <a:gd name="T17" fmla="*/ T16 w 24"/>
                      <a:gd name="T18" fmla="+- 0 2914 2803"/>
                      <a:gd name="T19" fmla="*/ 2914 h 142"/>
                      <a:gd name="T20" fmla="+- 0 4106 4081"/>
                      <a:gd name="T21" fmla="*/ T20 w 24"/>
                      <a:gd name="T22" fmla="+- 0 2906 2803"/>
                      <a:gd name="T23" fmla="*/ 290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  <a:cxn ang="0">
                        <a:pos x="T21" y="T23"/>
                      </a:cxn>
                    </a:cxnLst>
                    <a:rect l="0" t="0" r="r" b="b"/>
                    <a:pathLst>
                      <a:path w="24" h="142">
                        <a:moveTo>
                          <a:pt x="25" y="103"/>
                        </a:moveTo>
                        <a:lnTo>
                          <a:pt x="1" y="103"/>
                        </a:lnTo>
                        <a:lnTo>
                          <a:pt x="1" y="142"/>
                        </a:lnTo>
                        <a:lnTo>
                          <a:pt x="1" y="111"/>
                        </a:lnTo>
                        <a:lnTo>
                          <a:pt x="25" y="111"/>
                        </a:lnTo>
                        <a:lnTo>
                          <a:pt x="25" y="10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37" name="Freeform 222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900 2803"/>
                      <a:gd name="T3" fmla="*/ 2900 h 142"/>
                      <a:gd name="T4" fmla="+- 0 4081 4081"/>
                      <a:gd name="T5" fmla="*/ T4 w 24"/>
                      <a:gd name="T6" fmla="+- 0 2900 2803"/>
                      <a:gd name="T7" fmla="*/ 2900 h 142"/>
                      <a:gd name="T8" fmla="+- 0 4081 4081"/>
                      <a:gd name="T9" fmla="*/ T8 w 24"/>
                      <a:gd name="T10" fmla="+- 0 2906 2803"/>
                      <a:gd name="T11" fmla="*/ 2906 h 142"/>
                      <a:gd name="T12" fmla="+- 0 4082 4081"/>
                      <a:gd name="T13" fmla="*/ T12 w 24"/>
                      <a:gd name="T14" fmla="+- 0 2906 2803"/>
                      <a:gd name="T15" fmla="*/ 2906 h 142"/>
                      <a:gd name="T16" fmla="+- 0 4082 4081"/>
                      <a:gd name="T17" fmla="*/ T16 w 24"/>
                      <a:gd name="T18" fmla="+- 0 2900 2803"/>
                      <a:gd name="T19" fmla="*/ 290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97"/>
                        </a:moveTo>
                        <a:lnTo>
                          <a:pt x="0" y="97"/>
                        </a:lnTo>
                        <a:lnTo>
                          <a:pt x="0" y="103"/>
                        </a:lnTo>
                        <a:lnTo>
                          <a:pt x="1" y="103"/>
                        </a:lnTo>
                        <a:lnTo>
                          <a:pt x="1" y="9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38" name="Freeform 223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91 2803"/>
                      <a:gd name="T3" fmla="*/ 2891 h 142"/>
                      <a:gd name="T4" fmla="+- 0 4082 4081"/>
                      <a:gd name="T5" fmla="*/ T4 w 24"/>
                      <a:gd name="T6" fmla="+- 0 2891 2803"/>
                      <a:gd name="T7" fmla="*/ 2891 h 142"/>
                      <a:gd name="T8" fmla="+- 0 4082 4081"/>
                      <a:gd name="T9" fmla="*/ T8 w 24"/>
                      <a:gd name="T10" fmla="+- 0 2900 2803"/>
                      <a:gd name="T11" fmla="*/ 2900 h 142"/>
                      <a:gd name="T12" fmla="+- 0 4106 4081"/>
                      <a:gd name="T13" fmla="*/ T12 w 24"/>
                      <a:gd name="T14" fmla="+- 0 2900 2803"/>
                      <a:gd name="T15" fmla="*/ 2900 h 142"/>
                      <a:gd name="T16" fmla="+- 0 4106 4081"/>
                      <a:gd name="T17" fmla="*/ T16 w 24"/>
                      <a:gd name="T18" fmla="+- 0 2891 2803"/>
                      <a:gd name="T19" fmla="*/ 289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88"/>
                        </a:moveTo>
                        <a:lnTo>
                          <a:pt x="1" y="88"/>
                        </a:lnTo>
                        <a:lnTo>
                          <a:pt x="1" y="97"/>
                        </a:lnTo>
                        <a:lnTo>
                          <a:pt x="25" y="97"/>
                        </a:lnTo>
                        <a:lnTo>
                          <a:pt x="25" y="8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0" name="Freeform 224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885 2803"/>
                      <a:gd name="T3" fmla="*/ 2885 h 142"/>
                      <a:gd name="T4" fmla="+- 0 4081 4081"/>
                      <a:gd name="T5" fmla="*/ T4 w 24"/>
                      <a:gd name="T6" fmla="+- 0 2885 2803"/>
                      <a:gd name="T7" fmla="*/ 2885 h 142"/>
                      <a:gd name="T8" fmla="+- 0 4081 4081"/>
                      <a:gd name="T9" fmla="*/ T8 w 24"/>
                      <a:gd name="T10" fmla="+- 0 2891 2803"/>
                      <a:gd name="T11" fmla="*/ 2891 h 142"/>
                      <a:gd name="T12" fmla="+- 0 4082 4081"/>
                      <a:gd name="T13" fmla="*/ T12 w 24"/>
                      <a:gd name="T14" fmla="+- 0 2891 2803"/>
                      <a:gd name="T15" fmla="*/ 2891 h 142"/>
                      <a:gd name="T16" fmla="+- 0 4082 4081"/>
                      <a:gd name="T17" fmla="*/ T16 w 24"/>
                      <a:gd name="T18" fmla="+- 0 2885 2803"/>
                      <a:gd name="T19" fmla="*/ 2885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82"/>
                        </a:moveTo>
                        <a:lnTo>
                          <a:pt x="0" y="82"/>
                        </a:lnTo>
                        <a:lnTo>
                          <a:pt x="0" y="88"/>
                        </a:lnTo>
                        <a:lnTo>
                          <a:pt x="1" y="88"/>
                        </a:lnTo>
                        <a:lnTo>
                          <a:pt x="1" y="82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1" name="Freeform 225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76 2803"/>
                      <a:gd name="T3" fmla="*/ 2876 h 142"/>
                      <a:gd name="T4" fmla="+- 0 4082 4081"/>
                      <a:gd name="T5" fmla="*/ T4 w 24"/>
                      <a:gd name="T6" fmla="+- 0 2876 2803"/>
                      <a:gd name="T7" fmla="*/ 2876 h 142"/>
                      <a:gd name="T8" fmla="+- 0 4082 4081"/>
                      <a:gd name="T9" fmla="*/ T8 w 24"/>
                      <a:gd name="T10" fmla="+- 0 2885 2803"/>
                      <a:gd name="T11" fmla="*/ 2885 h 142"/>
                      <a:gd name="T12" fmla="+- 0 4106 4081"/>
                      <a:gd name="T13" fmla="*/ T12 w 24"/>
                      <a:gd name="T14" fmla="+- 0 2885 2803"/>
                      <a:gd name="T15" fmla="*/ 2885 h 142"/>
                      <a:gd name="T16" fmla="+- 0 4106 4081"/>
                      <a:gd name="T17" fmla="*/ T16 w 24"/>
                      <a:gd name="T18" fmla="+- 0 2876 2803"/>
                      <a:gd name="T19" fmla="*/ 287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73"/>
                        </a:moveTo>
                        <a:lnTo>
                          <a:pt x="1" y="73"/>
                        </a:lnTo>
                        <a:lnTo>
                          <a:pt x="1" y="82"/>
                        </a:lnTo>
                        <a:lnTo>
                          <a:pt x="25" y="82"/>
                        </a:lnTo>
                        <a:lnTo>
                          <a:pt x="25" y="7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2" name="Freeform 226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870 2803"/>
                      <a:gd name="T3" fmla="*/ 2870 h 142"/>
                      <a:gd name="T4" fmla="+- 0 4081 4081"/>
                      <a:gd name="T5" fmla="*/ T4 w 24"/>
                      <a:gd name="T6" fmla="+- 0 2870 2803"/>
                      <a:gd name="T7" fmla="*/ 2870 h 142"/>
                      <a:gd name="T8" fmla="+- 0 4081 4081"/>
                      <a:gd name="T9" fmla="*/ T8 w 24"/>
                      <a:gd name="T10" fmla="+- 0 2876 2803"/>
                      <a:gd name="T11" fmla="*/ 2876 h 142"/>
                      <a:gd name="T12" fmla="+- 0 4082 4081"/>
                      <a:gd name="T13" fmla="*/ T12 w 24"/>
                      <a:gd name="T14" fmla="+- 0 2876 2803"/>
                      <a:gd name="T15" fmla="*/ 2876 h 142"/>
                      <a:gd name="T16" fmla="+- 0 4082 4081"/>
                      <a:gd name="T17" fmla="*/ T16 w 24"/>
                      <a:gd name="T18" fmla="+- 0 2870 2803"/>
                      <a:gd name="T19" fmla="*/ 2870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67"/>
                        </a:moveTo>
                        <a:lnTo>
                          <a:pt x="0" y="67"/>
                        </a:lnTo>
                        <a:lnTo>
                          <a:pt x="0" y="73"/>
                        </a:lnTo>
                        <a:lnTo>
                          <a:pt x="1" y="73"/>
                        </a:lnTo>
                        <a:lnTo>
                          <a:pt x="1" y="67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3" name="Freeform 227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62 2803"/>
                      <a:gd name="T3" fmla="*/ 2862 h 142"/>
                      <a:gd name="T4" fmla="+- 0 4082 4081"/>
                      <a:gd name="T5" fmla="*/ T4 w 24"/>
                      <a:gd name="T6" fmla="+- 0 2862 2803"/>
                      <a:gd name="T7" fmla="*/ 2862 h 142"/>
                      <a:gd name="T8" fmla="+- 0 4082 4081"/>
                      <a:gd name="T9" fmla="*/ T8 w 24"/>
                      <a:gd name="T10" fmla="+- 0 2870 2803"/>
                      <a:gd name="T11" fmla="*/ 2870 h 142"/>
                      <a:gd name="T12" fmla="+- 0 4106 4081"/>
                      <a:gd name="T13" fmla="*/ T12 w 24"/>
                      <a:gd name="T14" fmla="+- 0 2870 2803"/>
                      <a:gd name="T15" fmla="*/ 2870 h 142"/>
                      <a:gd name="T16" fmla="+- 0 4106 4081"/>
                      <a:gd name="T17" fmla="*/ T16 w 24"/>
                      <a:gd name="T18" fmla="+- 0 2862 2803"/>
                      <a:gd name="T19" fmla="*/ 286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59"/>
                        </a:moveTo>
                        <a:lnTo>
                          <a:pt x="1" y="59"/>
                        </a:lnTo>
                        <a:lnTo>
                          <a:pt x="1" y="67"/>
                        </a:lnTo>
                        <a:lnTo>
                          <a:pt x="25" y="67"/>
                        </a:lnTo>
                        <a:lnTo>
                          <a:pt x="25" y="5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4" name="Freeform 228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856 2803"/>
                      <a:gd name="T3" fmla="*/ 2856 h 142"/>
                      <a:gd name="T4" fmla="+- 0 4081 4081"/>
                      <a:gd name="T5" fmla="*/ T4 w 24"/>
                      <a:gd name="T6" fmla="+- 0 2856 2803"/>
                      <a:gd name="T7" fmla="*/ 2856 h 142"/>
                      <a:gd name="T8" fmla="+- 0 4081 4081"/>
                      <a:gd name="T9" fmla="*/ T8 w 24"/>
                      <a:gd name="T10" fmla="+- 0 2862 2803"/>
                      <a:gd name="T11" fmla="*/ 2862 h 142"/>
                      <a:gd name="T12" fmla="+- 0 4082 4081"/>
                      <a:gd name="T13" fmla="*/ T12 w 24"/>
                      <a:gd name="T14" fmla="+- 0 2862 2803"/>
                      <a:gd name="T15" fmla="*/ 2862 h 142"/>
                      <a:gd name="T16" fmla="+- 0 4082 4081"/>
                      <a:gd name="T17" fmla="*/ T16 w 24"/>
                      <a:gd name="T18" fmla="+- 0 2856 2803"/>
                      <a:gd name="T19" fmla="*/ 285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53"/>
                        </a:moveTo>
                        <a:lnTo>
                          <a:pt x="0" y="53"/>
                        </a:lnTo>
                        <a:lnTo>
                          <a:pt x="0" y="59"/>
                        </a:lnTo>
                        <a:lnTo>
                          <a:pt x="1" y="59"/>
                        </a:lnTo>
                        <a:lnTo>
                          <a:pt x="1" y="5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5" name="Freeform 229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47 2803"/>
                      <a:gd name="T3" fmla="*/ 2847 h 142"/>
                      <a:gd name="T4" fmla="+- 0 4082 4081"/>
                      <a:gd name="T5" fmla="*/ T4 w 24"/>
                      <a:gd name="T6" fmla="+- 0 2847 2803"/>
                      <a:gd name="T7" fmla="*/ 2847 h 142"/>
                      <a:gd name="T8" fmla="+- 0 4082 4081"/>
                      <a:gd name="T9" fmla="*/ T8 w 24"/>
                      <a:gd name="T10" fmla="+- 0 2856 2803"/>
                      <a:gd name="T11" fmla="*/ 2856 h 142"/>
                      <a:gd name="T12" fmla="+- 0 4106 4081"/>
                      <a:gd name="T13" fmla="*/ T12 w 24"/>
                      <a:gd name="T14" fmla="+- 0 2856 2803"/>
                      <a:gd name="T15" fmla="*/ 2856 h 142"/>
                      <a:gd name="T16" fmla="+- 0 4106 4081"/>
                      <a:gd name="T17" fmla="*/ T16 w 24"/>
                      <a:gd name="T18" fmla="+- 0 2847 2803"/>
                      <a:gd name="T19" fmla="*/ 284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44"/>
                        </a:moveTo>
                        <a:lnTo>
                          <a:pt x="1" y="44"/>
                        </a:lnTo>
                        <a:lnTo>
                          <a:pt x="1" y="53"/>
                        </a:lnTo>
                        <a:lnTo>
                          <a:pt x="25" y="53"/>
                        </a:lnTo>
                        <a:lnTo>
                          <a:pt x="25" y="4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6" name="Freeform 230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841 2803"/>
                      <a:gd name="T3" fmla="*/ 2841 h 142"/>
                      <a:gd name="T4" fmla="+- 0 4081 4081"/>
                      <a:gd name="T5" fmla="*/ T4 w 24"/>
                      <a:gd name="T6" fmla="+- 0 2841 2803"/>
                      <a:gd name="T7" fmla="*/ 2841 h 142"/>
                      <a:gd name="T8" fmla="+- 0 4081 4081"/>
                      <a:gd name="T9" fmla="*/ T8 w 24"/>
                      <a:gd name="T10" fmla="+- 0 2847 2803"/>
                      <a:gd name="T11" fmla="*/ 2847 h 142"/>
                      <a:gd name="T12" fmla="+- 0 4082 4081"/>
                      <a:gd name="T13" fmla="*/ T12 w 24"/>
                      <a:gd name="T14" fmla="+- 0 2847 2803"/>
                      <a:gd name="T15" fmla="*/ 2847 h 142"/>
                      <a:gd name="T16" fmla="+- 0 4082 4081"/>
                      <a:gd name="T17" fmla="*/ T16 w 24"/>
                      <a:gd name="T18" fmla="+- 0 2841 2803"/>
                      <a:gd name="T19" fmla="*/ 2841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1" y="38"/>
                        </a:moveTo>
                        <a:lnTo>
                          <a:pt x="0" y="38"/>
                        </a:lnTo>
                        <a:lnTo>
                          <a:pt x="0" y="44"/>
                        </a:lnTo>
                        <a:lnTo>
                          <a:pt x="1" y="44"/>
                        </a:lnTo>
                        <a:lnTo>
                          <a:pt x="1" y="38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7" name="Freeform 231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32 2803"/>
                      <a:gd name="T3" fmla="*/ 2832 h 142"/>
                      <a:gd name="T4" fmla="+- 0 4082 4081"/>
                      <a:gd name="T5" fmla="*/ T4 w 24"/>
                      <a:gd name="T6" fmla="+- 0 2832 2803"/>
                      <a:gd name="T7" fmla="*/ 2832 h 142"/>
                      <a:gd name="T8" fmla="+- 0 4082 4081"/>
                      <a:gd name="T9" fmla="*/ T8 w 24"/>
                      <a:gd name="T10" fmla="+- 0 2841 2803"/>
                      <a:gd name="T11" fmla="*/ 2841 h 142"/>
                      <a:gd name="T12" fmla="+- 0 4106 4081"/>
                      <a:gd name="T13" fmla="*/ T12 w 24"/>
                      <a:gd name="T14" fmla="+- 0 2841 2803"/>
                      <a:gd name="T15" fmla="*/ 2841 h 142"/>
                      <a:gd name="T16" fmla="+- 0 4106 4081"/>
                      <a:gd name="T17" fmla="*/ T16 w 24"/>
                      <a:gd name="T18" fmla="+- 0 2832 2803"/>
                      <a:gd name="T19" fmla="*/ 283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29"/>
                        </a:moveTo>
                        <a:lnTo>
                          <a:pt x="1" y="29"/>
                        </a:lnTo>
                        <a:lnTo>
                          <a:pt x="1" y="38"/>
                        </a:lnTo>
                        <a:lnTo>
                          <a:pt x="25" y="38"/>
                        </a:lnTo>
                        <a:lnTo>
                          <a:pt x="25" y="2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8" name="Freeform 232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826 2803"/>
                      <a:gd name="T3" fmla="*/ 2826 h 142"/>
                      <a:gd name="T4" fmla="+- 0 4081 4081"/>
                      <a:gd name="T5" fmla="*/ T4 w 24"/>
                      <a:gd name="T6" fmla="+- 0 2832 2803"/>
                      <a:gd name="T7" fmla="*/ 2832 h 142"/>
                      <a:gd name="T8" fmla="+- 0 4082 4081"/>
                      <a:gd name="T9" fmla="*/ T8 w 24"/>
                      <a:gd name="T10" fmla="+- 0 2832 2803"/>
                      <a:gd name="T11" fmla="*/ 2832 h 142"/>
                      <a:gd name="T12" fmla="+- 0 4082 4081"/>
                      <a:gd name="T13" fmla="*/ T12 w 24"/>
                      <a:gd name="T14" fmla="+- 0 2826 2803"/>
                      <a:gd name="T15" fmla="*/ 2826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</a:cxnLst>
                    <a:rect l="0" t="0" r="r" b="b"/>
                    <a:pathLst>
                      <a:path w="24" h="142">
                        <a:moveTo>
                          <a:pt x="1" y="23"/>
                        </a:moveTo>
                        <a:lnTo>
                          <a:pt x="0" y="29"/>
                        </a:lnTo>
                        <a:lnTo>
                          <a:pt x="1" y="29"/>
                        </a:lnTo>
                        <a:lnTo>
                          <a:pt x="1" y="23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49" name="Freeform 233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17 2803"/>
                      <a:gd name="T3" fmla="*/ 2817 h 142"/>
                      <a:gd name="T4" fmla="+- 0 4082 4081"/>
                      <a:gd name="T5" fmla="*/ T4 w 24"/>
                      <a:gd name="T6" fmla="+- 0 2817 2803"/>
                      <a:gd name="T7" fmla="*/ 2817 h 142"/>
                      <a:gd name="T8" fmla="+- 0 4082 4081"/>
                      <a:gd name="T9" fmla="*/ T8 w 24"/>
                      <a:gd name="T10" fmla="+- 0 2826 2803"/>
                      <a:gd name="T11" fmla="*/ 2826 h 142"/>
                      <a:gd name="T12" fmla="+- 0 4106 4081"/>
                      <a:gd name="T13" fmla="*/ T12 w 24"/>
                      <a:gd name="T14" fmla="+- 0 2826 2803"/>
                      <a:gd name="T15" fmla="*/ 2826 h 142"/>
                      <a:gd name="T16" fmla="+- 0 4106 4081"/>
                      <a:gd name="T17" fmla="*/ T16 w 24"/>
                      <a:gd name="T18" fmla="+- 0 2817 2803"/>
                      <a:gd name="T19" fmla="*/ 2817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14"/>
                        </a:moveTo>
                        <a:lnTo>
                          <a:pt x="1" y="14"/>
                        </a:lnTo>
                        <a:lnTo>
                          <a:pt x="1" y="23"/>
                        </a:lnTo>
                        <a:lnTo>
                          <a:pt x="25" y="23"/>
                        </a:lnTo>
                        <a:lnTo>
                          <a:pt x="25" y="14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50" name="Freeform 234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082 4081"/>
                      <a:gd name="T1" fmla="*/ T0 w 24"/>
                      <a:gd name="T2" fmla="+- 0 2812 2803"/>
                      <a:gd name="T3" fmla="*/ 2812 h 142"/>
                      <a:gd name="T4" fmla="+- 0 4081 4081"/>
                      <a:gd name="T5" fmla="*/ T4 w 24"/>
                      <a:gd name="T6" fmla="+- 0 2817 2803"/>
                      <a:gd name="T7" fmla="*/ 2817 h 142"/>
                      <a:gd name="T8" fmla="+- 0 4082 4081"/>
                      <a:gd name="T9" fmla="*/ T8 w 24"/>
                      <a:gd name="T10" fmla="+- 0 2812 2803"/>
                      <a:gd name="T11" fmla="*/ 2812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24" h="142">
                        <a:moveTo>
                          <a:pt x="1" y="9"/>
                        </a:moveTo>
                        <a:lnTo>
                          <a:pt x="0" y="14"/>
                        </a:lnTo>
                        <a:lnTo>
                          <a:pt x="1" y="9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  <p:sp>
                <p:nvSpPr>
                  <p:cNvPr id="545851" name="Freeform 235"/>
                  <p:cNvSpPr>
                    <a:spLocks/>
                  </p:cNvSpPr>
                  <p:nvPr/>
                </p:nvSpPr>
                <p:spPr bwMode="auto">
                  <a:xfrm>
                    <a:off x="4081" y="2803"/>
                    <a:ext cx="24" cy="142"/>
                  </a:xfrm>
                  <a:custGeom>
                    <a:avLst/>
                    <a:gdLst>
                      <a:gd name="T0" fmla="+- 0 4106 4081"/>
                      <a:gd name="T1" fmla="*/ T0 w 24"/>
                      <a:gd name="T2" fmla="+- 0 2803 2803"/>
                      <a:gd name="T3" fmla="*/ 2803 h 142"/>
                      <a:gd name="T4" fmla="+- 0 4082 4081"/>
                      <a:gd name="T5" fmla="*/ T4 w 24"/>
                      <a:gd name="T6" fmla="+- 0 2803 2803"/>
                      <a:gd name="T7" fmla="*/ 2803 h 142"/>
                      <a:gd name="T8" fmla="+- 0 4082 4081"/>
                      <a:gd name="T9" fmla="*/ T8 w 24"/>
                      <a:gd name="T10" fmla="+- 0 2812 2803"/>
                      <a:gd name="T11" fmla="*/ 2812 h 142"/>
                      <a:gd name="T12" fmla="+- 0 4106 4081"/>
                      <a:gd name="T13" fmla="*/ T12 w 24"/>
                      <a:gd name="T14" fmla="+- 0 2812 2803"/>
                      <a:gd name="T15" fmla="*/ 2812 h 142"/>
                      <a:gd name="T16" fmla="+- 0 4106 4081"/>
                      <a:gd name="T17" fmla="*/ T16 w 24"/>
                      <a:gd name="T18" fmla="+- 0 2803 2803"/>
                      <a:gd name="T19" fmla="*/ 2803 h 142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  <a:cxn ang="0">
                        <a:pos x="T13" y="T15"/>
                      </a:cxn>
                      <a:cxn ang="0">
                        <a:pos x="T17" y="T19"/>
                      </a:cxn>
                    </a:cxnLst>
                    <a:rect l="0" t="0" r="r" b="b"/>
                    <a:pathLst>
                      <a:path w="24" h="142">
                        <a:moveTo>
                          <a:pt x="25" y="0"/>
                        </a:moveTo>
                        <a:lnTo>
                          <a:pt x="1" y="0"/>
                        </a:lnTo>
                        <a:lnTo>
                          <a:pt x="1" y="9"/>
                        </a:lnTo>
                        <a:lnTo>
                          <a:pt x="25" y="9"/>
                        </a:lnTo>
                        <a:lnTo>
                          <a:pt x="25" y="0"/>
                        </a:lnTo>
                        <a:close/>
                      </a:path>
                    </a:pathLst>
                  </a:custGeom>
                  <a:solidFill>
                    <a:srgbClr val="02020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30" name="Group 236"/>
                <p:cNvGrpSpPr>
                  <a:grpSpLocks/>
                </p:cNvGrpSpPr>
                <p:nvPr/>
              </p:nvGrpSpPr>
              <p:grpSpPr bwMode="auto">
                <a:xfrm>
                  <a:off x="4158" y="6371"/>
                  <a:ext cx="17" cy="37"/>
                  <a:chOff x="4158" y="2906"/>
                  <a:chExt cx="17" cy="37"/>
                </a:xfrm>
              </p:grpSpPr>
              <p:sp>
                <p:nvSpPr>
                  <p:cNvPr id="545835" name="Freeform 237"/>
                  <p:cNvSpPr>
                    <a:spLocks/>
                  </p:cNvSpPr>
                  <p:nvPr/>
                </p:nvSpPr>
                <p:spPr bwMode="auto">
                  <a:xfrm>
                    <a:off x="4158" y="2906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943 2906"/>
                      <a:gd name="T3" fmla="*/ 2943 h 37"/>
                      <a:gd name="T4" fmla="+- 0 4158 4158"/>
                      <a:gd name="T5" fmla="*/ T4 w 17"/>
                      <a:gd name="T6" fmla="+- 0 2906 2906"/>
                      <a:gd name="T7" fmla="*/ 2906 h 37"/>
                      <a:gd name="T8" fmla="+- 0 4175 4158"/>
                      <a:gd name="T9" fmla="*/ T8 w 17"/>
                      <a:gd name="T10" fmla="+- 0 2906 2906"/>
                      <a:gd name="T11" fmla="*/ 2906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37"/>
                        </a:moveTo>
                        <a:lnTo>
                          <a:pt x="0" y="0"/>
                        </a:lnTo>
                        <a:lnTo>
                          <a:pt x="17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31" name="Group 238"/>
                <p:cNvGrpSpPr>
                  <a:grpSpLocks/>
                </p:cNvGrpSpPr>
                <p:nvPr/>
              </p:nvGrpSpPr>
              <p:grpSpPr bwMode="auto">
                <a:xfrm>
                  <a:off x="4158" y="6239"/>
                  <a:ext cx="17" cy="37"/>
                  <a:chOff x="4158" y="2774"/>
                  <a:chExt cx="17" cy="37"/>
                </a:xfrm>
              </p:grpSpPr>
              <p:sp>
                <p:nvSpPr>
                  <p:cNvPr id="545834" name="Freeform 239"/>
                  <p:cNvSpPr>
                    <a:spLocks/>
                  </p:cNvSpPr>
                  <p:nvPr/>
                </p:nvSpPr>
                <p:spPr bwMode="auto">
                  <a:xfrm>
                    <a:off x="4158" y="2774"/>
                    <a:ext cx="17" cy="37"/>
                  </a:xfrm>
                  <a:custGeom>
                    <a:avLst/>
                    <a:gdLst>
                      <a:gd name="T0" fmla="+- 0 4158 4158"/>
                      <a:gd name="T1" fmla="*/ T0 w 17"/>
                      <a:gd name="T2" fmla="+- 0 2774 2774"/>
                      <a:gd name="T3" fmla="*/ 2774 h 37"/>
                      <a:gd name="T4" fmla="+- 0 4158 4158"/>
                      <a:gd name="T5" fmla="*/ T4 w 17"/>
                      <a:gd name="T6" fmla="+- 0 2811 2774"/>
                      <a:gd name="T7" fmla="*/ 2811 h 37"/>
                      <a:gd name="T8" fmla="+- 0 4175 4158"/>
                      <a:gd name="T9" fmla="*/ T8 w 17"/>
                      <a:gd name="T10" fmla="+- 0 2811 2774"/>
                      <a:gd name="T11" fmla="*/ 2811 h 37"/>
                    </a:gdLst>
                    <a:ahLst/>
                    <a:cxnLst>
                      <a:cxn ang="0">
                        <a:pos x="T1" y="T3"/>
                      </a:cxn>
                      <a:cxn ang="0">
                        <a:pos x="T5" y="T7"/>
                      </a:cxn>
                      <a:cxn ang="0">
                        <a:pos x="T9" y="T11"/>
                      </a:cxn>
                    </a:cxnLst>
                    <a:rect l="0" t="0" r="r" b="b"/>
                    <a:pathLst>
                      <a:path w="17" h="37">
                        <a:moveTo>
                          <a:pt x="0" y="0"/>
                        </a:moveTo>
                        <a:lnTo>
                          <a:pt x="0" y="37"/>
                        </a:lnTo>
                        <a:lnTo>
                          <a:pt x="17" y="37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  <p:grpSp>
              <p:nvGrpSpPr>
                <p:cNvPr id="545832" name="Group 240"/>
                <p:cNvGrpSpPr>
                  <a:grpSpLocks/>
                </p:cNvGrpSpPr>
                <p:nvPr/>
              </p:nvGrpSpPr>
              <p:grpSpPr bwMode="auto">
                <a:xfrm>
                  <a:off x="4188" y="6276"/>
                  <a:ext cx="2" cy="96"/>
                  <a:chOff x="4188" y="2811"/>
                  <a:chExt cx="2" cy="96"/>
                </a:xfrm>
              </p:grpSpPr>
              <p:sp>
                <p:nvSpPr>
                  <p:cNvPr id="545833" name="Freeform 241"/>
                  <p:cNvSpPr>
                    <a:spLocks/>
                  </p:cNvSpPr>
                  <p:nvPr/>
                </p:nvSpPr>
                <p:spPr bwMode="auto">
                  <a:xfrm>
                    <a:off x="4188" y="2811"/>
                    <a:ext cx="2" cy="96"/>
                  </a:xfrm>
                  <a:custGeom>
                    <a:avLst/>
                    <a:gdLst>
                      <a:gd name="T0" fmla="+- 0 2907 2811"/>
                      <a:gd name="T1" fmla="*/ 2907 h 96"/>
                      <a:gd name="T2" fmla="+- 0 2811 2811"/>
                      <a:gd name="T3" fmla="*/ 2811 h 96"/>
                    </a:gdLst>
                    <a:ahLst/>
                    <a:cxnLst>
                      <a:cxn ang="0">
                        <a:pos x="0" y="T1"/>
                      </a:cxn>
                      <a:cxn ang="0">
                        <a:pos x="0" y="T3"/>
                      </a:cxn>
                    </a:cxnLst>
                    <a:rect l="0" t="0" r="r" b="b"/>
                    <a:pathLst>
                      <a:path h="96">
                        <a:moveTo>
                          <a:pt x="0" y="96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800">
                    <a:solidFill>
                      <a:srgbClr val="02020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b-NO"/>
                  </a:p>
                </p:txBody>
              </p:sp>
            </p:grpSp>
          </p:grpSp>
          <p:sp>
            <p:nvSpPr>
              <p:cNvPr id="545895" name="Text Box 242"/>
              <p:cNvSpPr txBox="1">
                <a:spLocks noChangeArrowheads="1"/>
              </p:cNvSpPr>
              <p:nvPr/>
            </p:nvSpPr>
            <p:spPr bwMode="auto">
              <a:xfrm>
                <a:off x="7798544" y="3690094"/>
                <a:ext cx="73608" cy="10491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vert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marL="0" marR="3175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10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nb-NO" sz="200" b="0" i="0" u="none" strike="noStrike" cap="none" normalizeH="0" baseline="0" dirty="0">
                    <a:ln>
                      <a:noFill/>
                    </a:ln>
                    <a:solidFill>
                      <a:srgbClr val="221F1F"/>
                    </a:solidFill>
                    <a:effectLst/>
                    <a:latin typeface="Arial" panose="020B0604020202020204" pitchFamily="34" charset="0"/>
                  </a:rPr>
                  <a:t>LAN1               LAN2                 LAN3                 LAN4           RESET                       CABLE RF</a:t>
                </a:r>
              </a:p>
            </p:txBody>
          </p:sp>
          <p:sp>
            <p:nvSpPr>
              <p:cNvPr id="269" name="Text Box 242"/>
              <p:cNvSpPr txBox="1">
                <a:spLocks noChangeArrowheads="1"/>
              </p:cNvSpPr>
              <p:nvPr/>
            </p:nvSpPr>
            <p:spPr bwMode="auto">
              <a:xfrm>
                <a:off x="7747327" y="3883977"/>
                <a:ext cx="73608" cy="1928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vert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marL="0" marR="31750" lvl="0" indent="0" algn="l" defTabSz="914400" rtl="0" eaLnBrk="0" fontAlgn="base" latinLnBrk="0" hangingPunct="0">
                  <a:lnSpc>
                    <a:spcPct val="100000"/>
                  </a:lnSpc>
                  <a:spcBef>
                    <a:spcPts val="10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nb-NO" sz="200" b="0" i="0" u="none" strike="noStrike" cap="none" normalizeH="0" baseline="0" dirty="0">
                    <a:ln>
                      <a:noFill/>
                    </a:ln>
                    <a:solidFill>
                      <a:srgbClr val="221F1F"/>
                    </a:solidFill>
                    <a:effectLst/>
                    <a:latin typeface="Arial" panose="020B0604020202020204" pitchFamily="34" charset="0"/>
                  </a:rPr>
                  <a:t>ETHERNET</a:t>
                </a:r>
              </a:p>
            </p:txBody>
          </p:sp>
        </p:grpSp>
      </p:grpSp>
      <p:sp>
        <p:nvSpPr>
          <p:cNvPr id="471" name="TextBox 470"/>
          <p:cNvSpPr txBox="1"/>
          <p:nvPr/>
        </p:nvSpPr>
        <p:spPr>
          <a:xfrm>
            <a:off x="2123723" y="1160717"/>
            <a:ext cx="4896554" cy="420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545905" name="Rectangle 545904"/>
          <p:cNvSpPr/>
          <p:nvPr/>
        </p:nvSpPr>
        <p:spPr>
          <a:xfrm>
            <a:off x="6294265" y="5055522"/>
            <a:ext cx="12769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200" dirty="0">
                <a:solidFill>
                  <a:schemeClr val="bg1">
                    <a:lumMod val="50000"/>
                  </a:schemeClr>
                </a:solidFill>
              </a:rPr>
              <a:t>Sagemcom 3686v2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921420" y="1655649"/>
            <a:ext cx="5285004" cy="3676872"/>
            <a:chOff x="1245542" y="3634625"/>
            <a:chExt cx="4666331" cy="1908068"/>
          </a:xfrm>
        </p:grpSpPr>
        <p:sp>
          <p:nvSpPr>
            <p:cNvPr id="475" name="TextBox 474"/>
            <p:cNvSpPr txBox="1"/>
            <p:nvPr/>
          </p:nvSpPr>
          <p:spPr>
            <a:xfrm>
              <a:off x="1245542" y="3634625"/>
              <a:ext cx="4666331" cy="190806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600" dirty="0" err="1">
                  <a:solidFill>
                    <a:schemeClr val="bg1"/>
                  </a:solidFill>
                </a:rPr>
                <a:t>Ca</a:t>
              </a:r>
              <a:r>
                <a:rPr lang="nb-NO" sz="1600" dirty="0">
                  <a:solidFill>
                    <a:schemeClr val="bg1"/>
                  </a:solidFill>
                </a:rPr>
                <a:t> 1. november 2018- «Lekkasjetest» </a:t>
              </a:r>
            </a:p>
            <a:p>
              <a:pPr marL="642303" lvl="1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Hensikt: avsløre lekkasjer i nettet </a:t>
              </a:r>
            </a:p>
            <a:p>
              <a:pPr marL="642303" lvl="1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Mulig </a:t>
              </a:r>
              <a:r>
                <a:rPr lang="nb-NO" sz="1600" dirty="0" err="1">
                  <a:solidFill>
                    <a:schemeClr val="bg1"/>
                  </a:solidFill>
                </a:rPr>
                <a:t>nedetid</a:t>
              </a:r>
              <a:r>
                <a:rPr lang="nb-NO" sz="1600" dirty="0">
                  <a:solidFill>
                    <a:schemeClr val="bg1"/>
                  </a:solidFill>
                </a:rPr>
                <a:t> på anlegget i tiden 0900 – 1200 den aktuelle dagen </a:t>
              </a:r>
            </a:p>
            <a:p>
              <a:pPr marL="642303" lvl="1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Vil bli annonsert til alle beboere v/SMS i tråd med </a:t>
              </a:r>
              <a:r>
                <a:rPr lang="nb-NO" sz="1600" dirty="0" err="1">
                  <a:solidFill>
                    <a:schemeClr val="bg1"/>
                  </a:solidFill>
                </a:rPr>
                <a:t>Gets</a:t>
              </a:r>
              <a:r>
                <a:rPr lang="nb-NO" sz="1600" dirty="0">
                  <a:solidFill>
                    <a:schemeClr val="bg1"/>
                  </a:solidFill>
                </a:rPr>
                <a:t> rutin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19-22. november 2018– Bytte antennekontakt @</a:t>
              </a:r>
              <a:r>
                <a:rPr lang="nb-NO" sz="1600" dirty="0" err="1">
                  <a:solidFill>
                    <a:schemeClr val="bg1"/>
                  </a:solidFill>
                </a:rPr>
                <a:t>home</a:t>
              </a:r>
              <a:endParaRPr lang="nb-NO" sz="1600" dirty="0">
                <a:solidFill>
                  <a:schemeClr val="bg1"/>
                </a:solidFill>
              </a:endParaRPr>
            </a:p>
            <a:p>
              <a:pPr marL="642303" lvl="1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Involverer hver husstand – booking i </a:t>
              </a:r>
              <a:r>
                <a:rPr lang="nb-NO" sz="1600" dirty="0" err="1">
                  <a:solidFill>
                    <a:schemeClr val="bg1"/>
                  </a:solidFill>
                </a:rPr>
                <a:t>GETs</a:t>
              </a:r>
              <a:r>
                <a:rPr lang="nb-NO" sz="1600" dirty="0">
                  <a:solidFill>
                    <a:schemeClr val="bg1"/>
                  </a:solidFill>
                </a:rPr>
                <a:t> normale prosesser (entreprenør gjennomfører)</a:t>
              </a:r>
            </a:p>
            <a:p>
              <a:pPr marL="642303" lvl="1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GET setter på x montører som gjennomfører på kveldstid – </a:t>
              </a:r>
              <a:r>
                <a:rPr lang="nb-NO" sz="1600" dirty="0" err="1">
                  <a:solidFill>
                    <a:schemeClr val="bg1"/>
                  </a:solidFill>
                </a:rPr>
                <a:t>kl</a:t>
              </a:r>
              <a:r>
                <a:rPr lang="nb-NO" sz="1600" dirty="0">
                  <a:solidFill>
                    <a:schemeClr val="bg1"/>
                  </a:solidFill>
                </a:rPr>
                <a:t> 1700 – 1900(2000)</a:t>
              </a:r>
            </a:p>
            <a:p>
              <a:pPr marL="642303" lvl="1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Du får et dedikert tidsvindu for når monteringen vil skje hos deg gjennom vårt bookingsystem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600" dirty="0">
                  <a:solidFill>
                    <a:schemeClr val="bg1"/>
                  </a:solidFill>
                </a:rPr>
                <a:t> Installere nytt modem samtidig som vi bytter antennekontak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sz="1600" dirty="0">
                <a:solidFill>
                  <a:schemeClr val="bg1"/>
                </a:solidFill>
              </a:endParaRPr>
            </a:p>
          </p:txBody>
        </p:sp>
        <p:cxnSp>
          <p:nvCxnSpPr>
            <p:cNvPr id="260" name="Straight Arrow Connector 259"/>
            <p:cNvCxnSpPr/>
            <p:nvPr/>
          </p:nvCxnSpPr>
          <p:spPr>
            <a:xfrm>
              <a:off x="5306175" y="4285483"/>
              <a:ext cx="0" cy="44963"/>
            </a:xfrm>
            <a:prstGeom prst="straightConnector1">
              <a:avLst/>
            </a:prstGeom>
            <a:ln w="12700" cap="rnd">
              <a:solidFill>
                <a:srgbClr val="00B6CA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74564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8135" y="-98474"/>
            <a:ext cx="9242474" cy="5828065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-50088" y="-98474"/>
            <a:ext cx="9264428" cy="5828065"/>
          </a:xfrm>
          <a:prstGeom prst="rect">
            <a:avLst/>
          </a:prstGeom>
          <a:solidFill>
            <a:schemeClr val="tx1">
              <a:lumMod val="95000"/>
              <a:lumOff val="5000"/>
              <a:alpha val="6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4" name="Shape 506"/>
          <p:cNvSpPr/>
          <p:nvPr/>
        </p:nvSpPr>
        <p:spPr>
          <a:xfrm>
            <a:off x="-482010" y="380670"/>
            <a:ext cx="9144000" cy="59400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810" tIns="19810" rIns="19810" bIns="19810" anchor="ctr">
            <a:spAutoFit/>
          </a:bodyPr>
          <a:lstStyle/>
          <a:p>
            <a:pPr algn="ctr" defTabSz="386279">
              <a:defRPr sz="1800"/>
            </a:pPr>
            <a:r>
              <a:rPr lang="nb-NO" sz="3600" dirty="0">
                <a:solidFill>
                  <a:schemeClr val="bg1"/>
                </a:solidFill>
                <a:ea typeface="Metric Thin"/>
                <a:cs typeface="Metric Thin"/>
                <a:sym typeface="Metric Thin"/>
              </a:rPr>
              <a:t>Support gjennom pilotperioden</a:t>
            </a:r>
            <a:endParaRPr sz="2600" dirty="0">
              <a:solidFill>
                <a:schemeClr val="bg1"/>
              </a:solidFill>
              <a:ea typeface="Metric Thin"/>
              <a:cs typeface="Metric Thin"/>
              <a:sym typeface="Metric Thin"/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-3955551" y="1047963"/>
            <a:ext cx="3698697" cy="30261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nb-NO" sz="1100" b="1" dirty="0"/>
              <a:t>Teknisk navn fra leverandør: </a:t>
            </a:r>
            <a:r>
              <a:rPr lang="nb-NO" sz="1100" dirty="0"/>
              <a:t>Sagemcom – 3686v2</a:t>
            </a:r>
          </a:p>
          <a:p>
            <a:r>
              <a:rPr lang="nb-NO" sz="1100" b="1" dirty="0"/>
              <a:t>ICC navn</a:t>
            </a:r>
            <a:r>
              <a:rPr lang="nb-NO" sz="1100" dirty="0"/>
              <a:t>: Trådløst modem Sagemcom</a:t>
            </a:r>
          </a:p>
          <a:p>
            <a:r>
              <a:rPr lang="nb-NO" sz="1100" b="1" dirty="0"/>
              <a:t>Faktura navn:</a:t>
            </a:r>
            <a:r>
              <a:rPr lang="nb-NO" sz="1100" dirty="0"/>
              <a:t> Trådløst modem </a:t>
            </a:r>
          </a:p>
          <a:p>
            <a:r>
              <a:rPr lang="nb-NO" sz="1100" b="1" dirty="0"/>
              <a:t>Etableringsgebyr:</a:t>
            </a:r>
            <a:r>
              <a:rPr lang="nb-NO" sz="1100" dirty="0"/>
              <a:t> 699,-</a:t>
            </a:r>
          </a:p>
          <a:p>
            <a:r>
              <a:rPr lang="nb-NO" sz="1100" b="1" dirty="0"/>
              <a:t>Salg/leiemodell:</a:t>
            </a:r>
            <a:r>
              <a:rPr lang="nb-NO" sz="1100" dirty="0"/>
              <a:t> Leiemodell</a:t>
            </a:r>
          </a:p>
          <a:p>
            <a:r>
              <a:rPr lang="nb-NO" sz="1100" b="1" dirty="0"/>
              <a:t>Salgskanaler:</a:t>
            </a:r>
            <a:r>
              <a:rPr lang="nb-NO" sz="1100" dirty="0"/>
              <a:t> KS, Get.no, regionskontorer og via entreprenører</a:t>
            </a:r>
          </a:p>
          <a:p>
            <a:r>
              <a:rPr lang="nb-NO" sz="1100" b="1" dirty="0"/>
              <a:t>Produktstøtte:</a:t>
            </a:r>
            <a:r>
              <a:rPr lang="nb-NO" sz="1100" dirty="0"/>
              <a:t> S - XXL inkl. ekstra opplasting via kabel, 1 </a:t>
            </a:r>
            <a:r>
              <a:rPr lang="nb-NO" sz="1100" dirty="0" err="1"/>
              <a:t>voip</a:t>
            </a:r>
            <a:r>
              <a:rPr lang="nb-NO" sz="1100" dirty="0"/>
              <a:t> produkt </a:t>
            </a:r>
          </a:p>
          <a:p>
            <a:r>
              <a:rPr lang="nb-NO" sz="1100" b="1" dirty="0" err="1"/>
              <a:t>Produktfunsjonalitet</a:t>
            </a:r>
            <a:r>
              <a:rPr lang="nb-NO" sz="1100" b="1" dirty="0"/>
              <a:t>: </a:t>
            </a:r>
            <a:r>
              <a:rPr lang="nb-NO" sz="1100" dirty="0"/>
              <a:t>24 kanaler nedstrøms- kapabel til 1 </a:t>
            </a:r>
            <a:r>
              <a:rPr lang="nb-NO" sz="1100" dirty="0" err="1"/>
              <a:t>Gbps</a:t>
            </a:r>
            <a:r>
              <a:rPr lang="nb-NO" sz="1100" dirty="0"/>
              <a:t> (500+ trådløst), 8 kanaler </a:t>
            </a:r>
            <a:r>
              <a:rPr lang="nb-NO" sz="1100" dirty="0" err="1"/>
              <a:t>oppstrømskanaler</a:t>
            </a:r>
            <a:r>
              <a:rPr lang="nb-NO" sz="1100" dirty="0"/>
              <a:t> – kapabel til 240 </a:t>
            </a:r>
            <a:r>
              <a:rPr lang="nb-NO" sz="1100" dirty="0" err="1"/>
              <a:t>mbps</a:t>
            </a:r>
            <a:r>
              <a:rPr lang="nb-NO" sz="1100" dirty="0"/>
              <a:t>. (krever 11.ac standard på mottaker enhet). </a:t>
            </a:r>
          </a:p>
          <a:p>
            <a:r>
              <a:rPr lang="nb-NO" sz="1100" b="1" dirty="0"/>
              <a:t>Antenner: </a:t>
            </a:r>
            <a:r>
              <a:rPr lang="nb-NO" sz="1100" dirty="0"/>
              <a:t>3X3 antenner på 2.4 GHz – 3x3 på 5 GHz</a:t>
            </a:r>
          </a:p>
          <a:p>
            <a:r>
              <a:rPr lang="nb-NO" sz="1100" b="1" dirty="0"/>
              <a:t>SSID:</a:t>
            </a:r>
            <a:r>
              <a:rPr lang="nb-NO" sz="1100" dirty="0"/>
              <a:t> Get-XXXXXX og Get-5G-XXXXXX</a:t>
            </a:r>
          </a:p>
          <a:p>
            <a:r>
              <a:rPr lang="nb-NO" sz="1100" b="1" dirty="0"/>
              <a:t>Reset: </a:t>
            </a:r>
            <a:r>
              <a:rPr lang="nb-NO" sz="1100" dirty="0"/>
              <a:t>Modemet vil ved en reset gå tilbake til standard Get </a:t>
            </a:r>
            <a:r>
              <a:rPr lang="nb-NO" sz="1100" dirty="0" err="1"/>
              <a:t>config</a:t>
            </a:r>
            <a:r>
              <a:rPr lang="nb-NO" sz="1100" dirty="0"/>
              <a:t> med SSID og passord likt det som står på etikett </a:t>
            </a:r>
          </a:p>
          <a:p>
            <a:r>
              <a:rPr lang="nb-NO" sz="1100" b="1" dirty="0"/>
              <a:t>Passord:</a:t>
            </a:r>
            <a:r>
              <a:rPr lang="nb-NO" sz="1100" dirty="0"/>
              <a:t> 10 tegn</a:t>
            </a:r>
          </a:p>
          <a:p>
            <a:r>
              <a:rPr lang="nb-NO" sz="1100" b="1" dirty="0"/>
              <a:t>USB:</a:t>
            </a:r>
            <a:r>
              <a:rPr lang="nb-NO" sz="1100" dirty="0"/>
              <a:t> Ikke aktivert</a:t>
            </a:r>
          </a:p>
          <a:p>
            <a:r>
              <a:rPr lang="nb-NO" sz="1100" b="1" dirty="0"/>
              <a:t>WPS:</a:t>
            </a:r>
            <a:r>
              <a:rPr lang="nb-NO" sz="1100" dirty="0"/>
              <a:t> Aktivert</a:t>
            </a:r>
          </a:p>
          <a:p>
            <a:r>
              <a:rPr lang="nb-NO" sz="1100" b="1" dirty="0"/>
              <a:t>WIFI </a:t>
            </a:r>
            <a:r>
              <a:rPr lang="nb-NO" sz="1100" b="1" dirty="0" err="1"/>
              <a:t>on</a:t>
            </a:r>
            <a:r>
              <a:rPr lang="nb-NO" sz="1100" b="1" dirty="0"/>
              <a:t>/</a:t>
            </a:r>
            <a:r>
              <a:rPr lang="nb-NO" sz="1100" b="1" dirty="0" err="1"/>
              <a:t>off</a:t>
            </a:r>
            <a:r>
              <a:rPr lang="nb-NO" sz="1100" b="1" dirty="0"/>
              <a:t>: </a:t>
            </a:r>
            <a:r>
              <a:rPr lang="nb-NO" sz="1100" dirty="0"/>
              <a:t>Ikke aktivert</a:t>
            </a:r>
          </a:p>
          <a:p>
            <a:r>
              <a:rPr lang="nb-NO" sz="1100" b="1" dirty="0"/>
              <a:t>Garanti</a:t>
            </a:r>
            <a:r>
              <a:rPr lang="nb-NO" sz="1100" dirty="0"/>
              <a:t>: 1 år (Kjøpsloven gjelder i 5 år)</a:t>
            </a:r>
          </a:p>
          <a:p>
            <a:endParaRPr lang="nb-NO" sz="1100" dirty="0"/>
          </a:p>
          <a:p>
            <a:endParaRPr lang="nb-NO" sz="1100" dirty="0"/>
          </a:p>
        </p:txBody>
      </p:sp>
      <p:sp>
        <p:nvSpPr>
          <p:cNvPr id="471" name="TextBox 470"/>
          <p:cNvSpPr txBox="1"/>
          <p:nvPr/>
        </p:nvSpPr>
        <p:spPr>
          <a:xfrm>
            <a:off x="2123723" y="1160717"/>
            <a:ext cx="4896554" cy="420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251" name="Footer Placeholder 1">
            <a:extLst>
              <a:ext uri="{FF2B5EF4-FFF2-40B4-BE49-F238E27FC236}">
                <a16:creationId xmlns:a16="http://schemas.microsoft.com/office/drawing/2014/main" id="{7EE18970-6861-4FD3-BD26-D804D1D91B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2400" y="5438490"/>
            <a:ext cx="2252254" cy="107722"/>
          </a:xfrm>
        </p:spPr>
        <p:txBody>
          <a:bodyPr/>
          <a:lstStyle/>
          <a:p>
            <a:r>
              <a:rPr lang="nb-NO"/>
              <a:t>Private &amp; Confidential</a:t>
            </a:r>
          </a:p>
        </p:txBody>
      </p:sp>
      <p:sp>
        <p:nvSpPr>
          <p:cNvPr id="252" name="Slide Number Placeholder 2">
            <a:extLst>
              <a:ext uri="{FF2B5EF4-FFF2-40B4-BE49-F238E27FC236}">
                <a16:creationId xmlns:a16="http://schemas.microsoft.com/office/drawing/2014/main" id="{08F27E5A-ED8D-4AC9-8F37-AAA7B030E0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45363" y="5438964"/>
            <a:ext cx="253274" cy="107722"/>
          </a:xfrm>
        </p:spPr>
        <p:txBody>
          <a:bodyPr/>
          <a:lstStyle/>
          <a:p>
            <a:r>
              <a:rPr lang="nb-NO"/>
              <a:t>Page </a:t>
            </a:r>
            <a:fld id="{C73A977F-1452-4597-9E9D-AEC002F918F3}" type="slidenum">
              <a:rPr lang="nb-NO" smtClean="0"/>
              <a:pPr/>
              <a:t>18</a:t>
            </a:fld>
            <a:endParaRPr lang="nb-NO"/>
          </a:p>
        </p:txBody>
      </p:sp>
      <p:sp>
        <p:nvSpPr>
          <p:cNvPr id="254" name="Title 3">
            <a:extLst>
              <a:ext uri="{FF2B5EF4-FFF2-40B4-BE49-F238E27FC236}">
                <a16:creationId xmlns:a16="http://schemas.microsoft.com/office/drawing/2014/main" id="{5858479E-5960-4706-A2E5-68DC346F9463}"/>
              </a:ext>
            </a:extLst>
          </p:cNvPr>
          <p:cNvSpPr txBox="1">
            <a:spLocks/>
          </p:cNvSpPr>
          <p:nvPr/>
        </p:nvSpPr>
        <p:spPr>
          <a:xfrm>
            <a:off x="896567" y="1348692"/>
            <a:ext cx="4980357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0" kern="1200" cap="all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en-GB" sz="1600" dirty="0">
                <a:solidFill>
                  <a:srgbClr val="00B6CA"/>
                </a:solidFill>
                <a:latin typeface="+mj-lt"/>
              </a:rPr>
              <a:t>GET HAR ETABLERT EN EGEN SUPPORTLINJE FOR BEBOERNE </a:t>
            </a:r>
            <a:endParaRPr lang="en-GB" sz="1800" dirty="0">
              <a:solidFill>
                <a:srgbClr val="00B6CA"/>
              </a:solidFill>
              <a:latin typeface="+mj-lt"/>
            </a:endParaRPr>
          </a:p>
        </p:txBody>
      </p:sp>
      <p:sp>
        <p:nvSpPr>
          <p:cNvPr id="255" name="Title 3">
            <a:extLst>
              <a:ext uri="{FF2B5EF4-FFF2-40B4-BE49-F238E27FC236}">
                <a16:creationId xmlns:a16="http://schemas.microsoft.com/office/drawing/2014/main" id="{23B44C57-DC70-433B-A422-DF2B1AF2C6A2}"/>
              </a:ext>
            </a:extLst>
          </p:cNvPr>
          <p:cNvSpPr txBox="1">
            <a:spLocks/>
          </p:cNvSpPr>
          <p:nvPr/>
        </p:nvSpPr>
        <p:spPr>
          <a:xfrm>
            <a:off x="896567" y="1623549"/>
            <a:ext cx="7350861" cy="119585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nb-NO"/>
            </a:defPPr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altLang="nb-NO" sz="1400" dirty="0"/>
              <a:t>Linjen vil være operativ i hele testperiod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altLang="nb-NO" sz="1400" dirty="0"/>
              <a:t>Besvares av en dedikert gruppe ressurser som har fått opplæring i den nye teknologien og med god kjennskap til test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altLang="nb-NO" sz="1400" dirty="0"/>
              <a:t>Alle henvendelser fra sameiet, både generelle spørsmål og feilrapportering, vil rutes direkte til denne gruppen</a:t>
            </a:r>
          </a:p>
        </p:txBody>
      </p:sp>
      <p:graphicFrame>
        <p:nvGraphicFramePr>
          <p:cNvPr id="256" name="Table 255">
            <a:extLst>
              <a:ext uri="{FF2B5EF4-FFF2-40B4-BE49-F238E27FC236}">
                <a16:creationId xmlns:a16="http://schemas.microsoft.com/office/drawing/2014/main" id="{4FF03A67-803E-4735-9339-E01826D18E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418864"/>
              </p:ext>
            </p:extLst>
          </p:nvPr>
        </p:nvGraphicFramePr>
        <p:xfrm>
          <a:off x="896566" y="2950742"/>
          <a:ext cx="7350864" cy="1679926"/>
        </p:xfrm>
        <a:graphic>
          <a:graphicData uri="http://schemas.openxmlformats.org/drawingml/2006/table">
            <a:tbl>
              <a:tblPr firstRow="1" bandRow="1">
                <a:tableStyleId>{5C22544A-7EE6-4342-B048-85BDC9FD1C3D}</a:tableStyleId>
              </a:tblPr>
              <a:tblGrid>
                <a:gridCol w="3256334">
                  <a:extLst>
                    <a:ext uri="{9D8B030D-6E8A-4147-A177-3AD203B41FA5}">
                      <a16:colId xmlns:a16="http://schemas.microsoft.com/office/drawing/2014/main" val="573103345"/>
                    </a:ext>
                  </a:extLst>
                </a:gridCol>
                <a:gridCol w="1485900">
                  <a:extLst>
                    <a:ext uri="{9D8B030D-6E8A-4147-A177-3AD203B41FA5}">
                      <a16:colId xmlns:a16="http://schemas.microsoft.com/office/drawing/2014/main" val="2476007428"/>
                    </a:ext>
                  </a:extLst>
                </a:gridCol>
                <a:gridCol w="2608630">
                  <a:extLst>
                    <a:ext uri="{9D8B030D-6E8A-4147-A177-3AD203B41FA5}">
                      <a16:colId xmlns:a16="http://schemas.microsoft.com/office/drawing/2014/main" val="3367694963"/>
                    </a:ext>
                  </a:extLst>
                </a:gridCol>
              </a:tblGrid>
              <a:tr h="321803">
                <a:tc>
                  <a:txBody>
                    <a:bodyPr/>
                    <a:lstStyle/>
                    <a:p>
                      <a:r>
                        <a:rPr lang="nb-NO" sz="1400" dirty="0">
                          <a:solidFill>
                            <a:schemeClr val="bg1"/>
                          </a:solidFill>
                          <a:latin typeface="+mj-lt"/>
                        </a:rPr>
                        <a:t>PERIODE</a:t>
                      </a:r>
                    </a:p>
                  </a:txBody>
                  <a:tcPr>
                    <a:solidFill>
                      <a:srgbClr val="00B6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>
                          <a:solidFill>
                            <a:schemeClr val="bg1"/>
                          </a:solidFill>
                          <a:latin typeface="+mj-lt"/>
                        </a:rPr>
                        <a:t>ÅPNINGSTID</a:t>
                      </a:r>
                    </a:p>
                  </a:txBody>
                  <a:tcPr>
                    <a:solidFill>
                      <a:srgbClr val="00B6C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>
                          <a:solidFill>
                            <a:schemeClr val="bg1"/>
                          </a:solidFill>
                          <a:latin typeface="+mj-lt"/>
                        </a:rPr>
                        <a:t>TELEFON NUMMER</a:t>
                      </a:r>
                    </a:p>
                  </a:txBody>
                  <a:tcPr>
                    <a:solidFill>
                      <a:srgbClr val="00B6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9014381"/>
                  </a:ext>
                </a:extLst>
              </a:tr>
              <a:tr h="321803">
                <a:tc>
                  <a:txBody>
                    <a:bodyPr/>
                    <a:lstStyle/>
                    <a:p>
                      <a:r>
                        <a:rPr lang="nb-NO" sz="1400" dirty="0">
                          <a:latin typeface="+mn-lt"/>
                        </a:rPr>
                        <a:t>Mandag til fre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r" defTabSz="685800" rtl="0" eaLnBrk="1" latinLnBrk="0" hangingPunct="1">
                        <a:lnSpc>
                          <a:spcPts val="1500"/>
                        </a:lnSpc>
                        <a:spcAft>
                          <a:spcPts val="0"/>
                        </a:spcAft>
                        <a:tabLst>
                          <a:tab pos="1257300" algn="r"/>
                        </a:tabLst>
                      </a:pPr>
                      <a:r>
                        <a:rPr lang="nb-NO" sz="14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08:00 - 22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nb-NO" sz="1400" dirty="0">
                          <a:latin typeface="+mn-lt"/>
                        </a:rPr>
                        <a:t>21 90 60 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239987"/>
                  </a:ext>
                </a:extLst>
              </a:tr>
              <a:tr h="321803">
                <a:tc>
                  <a:txBody>
                    <a:bodyPr/>
                    <a:lstStyle/>
                    <a:p>
                      <a:r>
                        <a:rPr lang="nb-NO" sz="1400" dirty="0">
                          <a:latin typeface="+mn-lt"/>
                        </a:rPr>
                        <a:t>Lør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r" defTabSz="685800" rtl="0" eaLnBrk="1" latinLnBrk="0" hangingPunct="1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nb-NO" sz="14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1:00 –  19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>
                          <a:latin typeface="+mn-lt"/>
                        </a:rPr>
                        <a:t>21 90 60 50</a:t>
                      </a:r>
                    </a:p>
                    <a:p>
                      <a:endParaRPr lang="nb-NO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2675757"/>
                  </a:ext>
                </a:extLst>
              </a:tr>
              <a:tr h="321803">
                <a:tc>
                  <a:txBody>
                    <a:bodyPr/>
                    <a:lstStyle/>
                    <a:p>
                      <a:r>
                        <a:rPr lang="nb-NO" sz="1400" dirty="0">
                          <a:latin typeface="+mn-lt"/>
                        </a:rPr>
                        <a:t>Søndag (og andre nasjonale fri/helligdager) -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r" defTabSz="685800" rtl="0" eaLnBrk="1" latinLnBrk="0" hangingPunct="1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nb-NO" sz="14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12:00 –  20: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>
                          <a:latin typeface="+mn-lt"/>
                        </a:rPr>
                        <a:t>21 90 60 50</a:t>
                      </a:r>
                    </a:p>
                    <a:p>
                      <a:endParaRPr lang="nb-NO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0545032"/>
                  </a:ext>
                </a:extLst>
              </a:tr>
            </a:tbl>
          </a:graphicData>
        </a:graphic>
      </p:graphicFrame>
      <p:sp>
        <p:nvSpPr>
          <p:cNvPr id="257" name="Title 3">
            <a:extLst>
              <a:ext uri="{FF2B5EF4-FFF2-40B4-BE49-F238E27FC236}">
                <a16:creationId xmlns:a16="http://schemas.microsoft.com/office/drawing/2014/main" id="{D002C746-2D01-4175-ACB7-3D33E77BCEB5}"/>
              </a:ext>
            </a:extLst>
          </p:cNvPr>
          <p:cNvSpPr txBox="1">
            <a:spLocks/>
          </p:cNvSpPr>
          <p:nvPr/>
        </p:nvSpPr>
        <p:spPr>
          <a:xfrm>
            <a:off x="896566" y="4694429"/>
            <a:ext cx="7350862" cy="73082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nb-NO"/>
            </a:defPPr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Lørdag og søndag er det den ordinære kundesupporten som vil besvare samtalene</a:t>
            </a:r>
          </a:p>
        </p:txBody>
      </p:sp>
    </p:spTree>
    <p:extLst>
      <p:ext uri="{BB962C8B-B14F-4D97-AF65-F5344CB8AC3E}">
        <p14:creationId xmlns:p14="http://schemas.microsoft.com/office/powerpoint/2010/main" val="34805446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1" y="159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>
            <a:cxnSpLocks/>
          </p:cNvCxnSpPr>
          <p:nvPr/>
        </p:nvCxnSpPr>
        <p:spPr>
          <a:xfrm>
            <a:off x="3726560" y="2635682"/>
            <a:ext cx="1627379" cy="0"/>
          </a:xfrm>
          <a:prstGeom prst="line">
            <a:avLst/>
          </a:prstGeom>
          <a:ln>
            <a:solidFill>
              <a:srgbClr val="FFD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Users\noanihjo\AppData\Local\Microsoft\Windows\Temporary Internet Files\Content.Outlook\DRSV57Y0\Get-TDC-logo-HVIT-gjennomsiktig1000x241.png"/>
          <p:cNvPicPr>
            <a:picLocks noChangeAspect="1" noChangeArrowheads="1"/>
          </p:cNvPicPr>
          <p:nvPr/>
        </p:nvPicPr>
        <p:blipFill rotWithShape="1">
          <a:blip r:embed="rId8" cstate="print"/>
          <a:srcRect l="1" r="58725"/>
          <a:stretch/>
        </p:blipFill>
        <p:spPr bwMode="auto">
          <a:xfrm>
            <a:off x="4275387" y="2826074"/>
            <a:ext cx="611331" cy="356949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117C60C-959B-4CD9-82F6-FB4DC3452701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6560" y="2082830"/>
            <a:ext cx="1627380" cy="4776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D28C86E-7CA4-4028-A4BA-6E900392A3F8}"/>
              </a:ext>
            </a:extLst>
          </p:cNvPr>
          <p:cNvSpPr txBox="1"/>
          <p:nvPr/>
        </p:nvSpPr>
        <p:spPr>
          <a:xfrm>
            <a:off x="4275387" y="331818"/>
            <a:ext cx="15932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600" b="1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63721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4000" cy="5715001"/>
          </a:xfrm>
          <a:prstGeom prst="rect">
            <a:avLst/>
          </a:prstGeom>
        </p:spPr>
      </p:pic>
      <p:sp>
        <p:nvSpPr>
          <p:cNvPr id="10" name="Shape 993"/>
          <p:cNvSpPr/>
          <p:nvPr/>
        </p:nvSpPr>
        <p:spPr>
          <a:xfrm>
            <a:off x="-2324" y="0"/>
            <a:ext cx="9146324" cy="5715000"/>
          </a:xfrm>
          <a:prstGeom prst="rect">
            <a:avLst/>
          </a:prstGeom>
          <a:solidFill>
            <a:srgbClr val="000000">
              <a:alpha val="64999"/>
            </a:srgbClr>
          </a:solidFill>
          <a:ln w="3175">
            <a:miter lim="400000"/>
          </a:ln>
        </p:spPr>
        <p:txBody>
          <a:bodyPr lIns="19810" tIns="19810" rIns="19810" bIns="19810" anchor="ctr"/>
          <a:lstStyle/>
          <a:p>
            <a:pPr algn="ctr" defTabSz="386269">
              <a:defRPr sz="2600">
                <a:solidFill>
                  <a:srgbClr val="FFFFFF"/>
                </a:solidFill>
              </a:defRPr>
            </a:pPr>
            <a:r>
              <a:rPr lang="nb-NO" sz="1200" kern="0" dirty="0">
                <a:solidFill>
                  <a:srgbClr val="FFFFFF"/>
                </a:solidFill>
                <a:sym typeface="Helvetica Light"/>
              </a:rPr>
              <a:t>        </a:t>
            </a:r>
            <a:endParaRPr sz="1200" kern="0" dirty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994" name="yellow_line_divider_big.p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324" y="0"/>
            <a:ext cx="9146324" cy="4622799"/>
          </a:xfrm>
          <a:prstGeom prst="rect">
            <a:avLst/>
          </a:prstGeom>
          <a:ln w="3175">
            <a:miter lim="400000"/>
          </a:ln>
        </p:spPr>
      </p:pic>
      <p:sp>
        <p:nvSpPr>
          <p:cNvPr id="995" name="Shape 995"/>
          <p:cNvSpPr/>
          <p:nvPr/>
        </p:nvSpPr>
        <p:spPr>
          <a:xfrm>
            <a:off x="2337568" y="2406108"/>
            <a:ext cx="4466540" cy="3410160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810" tIns="19810" rIns="19810" bIns="19810" anchor="ctr">
            <a:spAutoFit/>
          </a:bodyPr>
          <a:lstStyle>
            <a:lvl1pPr defTabSz="713231">
              <a:lnSpc>
                <a:spcPct val="150000"/>
              </a:lnSpc>
              <a:defRPr sz="6000">
                <a:solidFill>
                  <a:srgbClr val="FFFFFF"/>
                </a:solidFill>
                <a:latin typeface="Metric Thin"/>
                <a:ea typeface="Metric Thin"/>
                <a:cs typeface="Metric Thin"/>
                <a:sym typeface="Metric Thin"/>
              </a:defRPr>
            </a:lvl1pPr>
          </a:lstStyle>
          <a:p>
            <a:pPr algn="ctr">
              <a:defRPr/>
            </a:pPr>
            <a:r>
              <a:rPr lang="en-US" sz="2000" dirty="0">
                <a:latin typeface="+mj-lt"/>
              </a:rPr>
              <a:t>GET - Next Generation Access Architecture </a:t>
            </a:r>
          </a:p>
          <a:p>
            <a:pPr algn="ctr">
              <a:defRPr/>
            </a:pPr>
            <a:r>
              <a:rPr lang="en-US" sz="1800" dirty="0"/>
              <a:t>OM GET </a:t>
            </a:r>
          </a:p>
          <a:p>
            <a:pPr algn="ctr">
              <a:defRPr/>
            </a:pPr>
            <a:r>
              <a:rPr lang="en-US" sz="1800" dirty="0"/>
              <a:t>PILOT I GET </a:t>
            </a:r>
          </a:p>
          <a:p>
            <a:pPr algn="ctr">
              <a:defRPr/>
            </a:pPr>
            <a:r>
              <a:rPr lang="en-US" sz="1800" dirty="0"/>
              <a:t>PRODUKTER</a:t>
            </a:r>
          </a:p>
          <a:p>
            <a:pPr algn="ctr">
              <a:defRPr/>
            </a:pPr>
            <a:r>
              <a:rPr lang="en-US" sz="1800" dirty="0"/>
              <a:t>INFRASTRUKTUR</a:t>
            </a:r>
          </a:p>
          <a:p>
            <a:pPr algn="ctr">
              <a:defRPr/>
            </a:pPr>
            <a:r>
              <a:rPr lang="en-US" sz="1800" dirty="0"/>
              <a:t>FORVENTNINGER</a:t>
            </a:r>
            <a:br>
              <a:rPr lang="en-US" sz="1800" dirty="0"/>
            </a:br>
            <a:r>
              <a:rPr lang="en-US" sz="1800" dirty="0"/>
              <a:t>TILBUD</a:t>
            </a:r>
          </a:p>
          <a:p>
            <a:pPr algn="ctr">
              <a:defRPr/>
            </a:pPr>
            <a:r>
              <a:rPr lang="en-US" sz="1800" dirty="0"/>
              <a:t>TISDSPLAN</a:t>
            </a:r>
          </a:p>
        </p:txBody>
      </p:sp>
      <p:sp>
        <p:nvSpPr>
          <p:cNvPr id="997" name="Shape 997"/>
          <p:cNvSpPr/>
          <p:nvPr/>
        </p:nvSpPr>
        <p:spPr>
          <a:xfrm>
            <a:off x="917474" y="3461542"/>
            <a:ext cx="40007" cy="47602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810" tIns="19810" rIns="19810" bIns="19810" anchor="ctr">
            <a:spAutoFit/>
          </a:bodyPr>
          <a:lstStyle>
            <a:lvl1pPr defTabSz="713231">
              <a:lnSpc>
                <a:spcPct val="150000"/>
              </a:lnSpc>
              <a:defRPr sz="6000">
                <a:solidFill>
                  <a:srgbClr val="FFFFFF"/>
                </a:solidFill>
                <a:latin typeface="Metric Thin"/>
                <a:ea typeface="Metric Thin"/>
                <a:cs typeface="Metric Thin"/>
                <a:sym typeface="Metric Thin"/>
              </a:defRPr>
            </a:lvl1pPr>
          </a:lstStyle>
          <a:p>
            <a:pPr>
              <a:defRPr/>
            </a:pPr>
            <a:endParaRPr lang="en-US" sz="2000" dirty="0"/>
          </a:p>
        </p:txBody>
      </p:sp>
      <p:sp>
        <p:nvSpPr>
          <p:cNvPr id="998" name="Shape 998"/>
          <p:cNvSpPr/>
          <p:nvPr/>
        </p:nvSpPr>
        <p:spPr>
          <a:xfrm>
            <a:off x="4573727" y="3403947"/>
            <a:ext cx="40072" cy="50167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810" tIns="19810" rIns="19810" bIns="19810" anchor="ctr">
            <a:spAutoFit/>
          </a:bodyPr>
          <a:lstStyle>
            <a:lvl1pPr defTabSz="713231">
              <a:lnSpc>
                <a:spcPct val="150000"/>
              </a:lnSpc>
              <a:defRPr sz="6000">
                <a:solidFill>
                  <a:srgbClr val="FFFFFF"/>
                </a:solidFill>
                <a:latin typeface="Metric Thin"/>
                <a:ea typeface="Metric Thin"/>
                <a:cs typeface="Metric Thin"/>
                <a:sym typeface="Metric Thin"/>
              </a:defRPr>
            </a:lvl1pPr>
          </a:lstStyle>
          <a:p>
            <a:pPr algn="ctr">
              <a:defRPr sz="1800">
                <a:solidFill>
                  <a:srgbClr val="000000"/>
                </a:solidFill>
              </a:defRPr>
            </a:pPr>
            <a:endParaRPr sz="2000" kern="0" dirty="0">
              <a:solidFill>
                <a:schemeClr val="bg1"/>
              </a:solidFill>
            </a:endParaRPr>
          </a:p>
        </p:txBody>
      </p:sp>
      <p:sp>
        <p:nvSpPr>
          <p:cNvPr id="9" name="Shape 999"/>
          <p:cNvSpPr/>
          <p:nvPr/>
        </p:nvSpPr>
        <p:spPr>
          <a:xfrm>
            <a:off x="4297118" y="0"/>
            <a:ext cx="549762" cy="45550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810" tIns="19810" rIns="19810" bIns="19810" anchor="ctr">
            <a:spAutoFit/>
          </a:bodyPr>
          <a:lstStyle/>
          <a:p>
            <a:pPr algn="ctr" defTabSz="320898">
              <a:spcBef>
                <a:spcPts val="562"/>
              </a:spcBef>
              <a:defRPr sz="1800"/>
            </a:pPr>
            <a:endParaRPr lang="nb-NO" sz="1100" kern="0" cap="all" dirty="0">
              <a:solidFill>
                <a:srgbClr val="FFFFFF"/>
              </a:solidFill>
              <a:latin typeface="Metric Semibold"/>
              <a:ea typeface="Metric Semibold"/>
              <a:cs typeface="Metric Semibold"/>
              <a:sym typeface="Metric Semibold"/>
            </a:endParaRPr>
          </a:p>
          <a:p>
            <a:pPr algn="ctr" defTabSz="320898">
              <a:spcBef>
                <a:spcPts val="562"/>
              </a:spcBef>
              <a:defRPr sz="1800"/>
            </a:pPr>
            <a:r>
              <a:rPr lang="nb-NO" sz="1100" kern="0" cap="all" dirty="0">
                <a:solidFill>
                  <a:srgbClr val="FFFFFF"/>
                </a:solidFill>
                <a:latin typeface="Metric Semibold"/>
                <a:ea typeface="Metric Semibold"/>
                <a:cs typeface="Metric Semibold"/>
                <a:sym typeface="Metric Semibold"/>
              </a:rPr>
              <a:t>AGENDA</a:t>
            </a:r>
            <a:endParaRPr sz="1100" kern="0" cap="all" dirty="0">
              <a:solidFill>
                <a:srgbClr val="FFFFFF"/>
              </a:solidFill>
              <a:latin typeface="Metric Semibold"/>
              <a:ea typeface="Metric Semibold"/>
              <a:cs typeface="Metric Semibold"/>
              <a:sym typeface="Metric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81537966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OM GET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155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5715000"/>
          </a:xfrm>
          <a:prstGeom prst="rect">
            <a:avLst/>
          </a:prstGeom>
          <a:ln>
            <a:noFill/>
          </a:ln>
        </p:spPr>
      </p:pic>
      <p:sp>
        <p:nvSpPr>
          <p:cNvPr id="25" name="Shape 993"/>
          <p:cNvSpPr/>
          <p:nvPr/>
        </p:nvSpPr>
        <p:spPr>
          <a:xfrm>
            <a:off x="0" y="0"/>
            <a:ext cx="9144000" cy="5715000"/>
          </a:xfrm>
          <a:prstGeom prst="rect">
            <a:avLst/>
          </a:prstGeom>
          <a:gradFill flip="none" rotWithShape="1">
            <a:gsLst>
              <a:gs pos="33000">
                <a:srgbClr val="000000">
                  <a:alpha val="40000"/>
                </a:srgbClr>
              </a:gs>
              <a:gs pos="100000">
                <a:schemeClr val="tx1">
                  <a:alpha val="28000"/>
                </a:schemeClr>
              </a:gs>
            </a:gsLst>
            <a:lin ang="16200000" scaled="0"/>
            <a:tileRect/>
          </a:gradFill>
          <a:ln w="3175">
            <a:miter lim="400000"/>
          </a:ln>
        </p:spPr>
        <p:txBody>
          <a:bodyPr lIns="19810" tIns="19810" rIns="19810" bIns="19810" anchor="ctr"/>
          <a:lstStyle/>
          <a:p>
            <a:pPr marL="0" marR="0" lvl="0" indent="0" algn="ctr" defTabSz="386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>
                <a:solidFill>
                  <a:srgbClr val="FFFFFF"/>
                </a:solidFill>
              </a:defRPr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tric Light"/>
                <a:ea typeface="+mn-ea"/>
                <a:cs typeface="+mn-cs"/>
                <a:sym typeface="Helvetica Light"/>
              </a:rPr>
              <a:t>        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tric Light"/>
              <a:ea typeface="+mn-ea"/>
              <a:cs typeface="+mn-cs"/>
              <a:sym typeface="Helvetica Light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58633" y="287187"/>
          <a:ext cx="1428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58633" y="287187"/>
                        <a:ext cx="1428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457200" y="285750"/>
            <a:ext cx="142875" cy="1428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tric Light" panose="020B0303030202060203" pitchFamily="34" charset="0"/>
              <a:ea typeface="+mn-ea"/>
              <a:cs typeface="+mn-cs"/>
              <a:sym typeface="Metric Light" panose="020B0303030202060203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52700" y="914453"/>
            <a:ext cx="7406640" cy="430887"/>
          </a:xfrm>
        </p:spPr>
        <p:txBody>
          <a:bodyPr>
            <a:normAutofit/>
          </a:bodyPr>
          <a:lstStyle/>
          <a:p>
            <a:r>
              <a:rPr lang="nb-NO" sz="2340" dirty="0">
                <a:solidFill>
                  <a:schemeClr val="bg1"/>
                </a:solidFill>
                <a:latin typeface="+mj-lt"/>
                <a:cs typeface="Metric Thin"/>
              </a:rPr>
              <a:t>BOLIGSELSKAPSSPESIALISTEN </a:t>
            </a:r>
            <a:r>
              <a:rPr lang="nb-NO" sz="2340" dirty="0">
                <a:solidFill>
                  <a:schemeClr val="bg1"/>
                </a:solidFill>
                <a:cs typeface="Metric Thin"/>
              </a:rPr>
              <a:t>GE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92795" y="1217155"/>
            <a:ext cx="822960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20" b="0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Metric Thin"/>
              </a:rPr>
              <a:t>- </a:t>
            </a:r>
            <a:r>
              <a:rPr kumimoji="0" lang="nb-NO" sz="1620" b="0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Metric Thin"/>
              </a:rPr>
              <a:t>VÅR VERDIKJEDE OG VÅRE TJENESTER ER UTVIKLET mot BOLIGSELSKAP</a:t>
            </a:r>
          </a:p>
        </p:txBody>
      </p:sp>
      <p:sp>
        <p:nvSpPr>
          <p:cNvPr id="18" name="Rectangle 19">
            <a:extLst>
              <a:ext uri="{FF2B5EF4-FFF2-40B4-BE49-F238E27FC236}">
                <a16:creationId xmlns:a16="http://schemas.microsoft.com/office/drawing/2014/main" id="{6E4CD193-FB5C-4274-A798-B6054CE39DD3}"/>
              </a:ext>
            </a:extLst>
          </p:cNvPr>
          <p:cNvSpPr txBox="1"/>
          <p:nvPr/>
        </p:nvSpPr>
        <p:spPr>
          <a:xfrm>
            <a:off x="5151662" y="2259792"/>
            <a:ext cx="2504851" cy="18620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11500" cap="all">
                <a:solidFill>
                  <a:srgbClr val="39393A"/>
                </a:solidFill>
              </a:defRPr>
            </a:lvl1pPr>
          </a:lstStyle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500" b="0" i="0" u="none" strike="noStrike" kern="1200" cap="all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90%</a:t>
            </a: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9AAB9A8D-1DEB-4BD4-900E-1DE51B638468}"/>
              </a:ext>
            </a:extLst>
          </p:cNvPr>
          <p:cNvSpPr txBox="1"/>
          <p:nvPr/>
        </p:nvSpPr>
        <p:spPr>
          <a:xfrm>
            <a:off x="1666950" y="3846746"/>
            <a:ext cx="2051065" cy="515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1141" tIns="41141" rIns="41141" bIns="4114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cap="all">
                <a:solidFill>
                  <a:srgbClr val="39393A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pPr>
            <a:r>
              <a:rPr kumimoji="0" sz="1404" b="0" i="0" u="none" strike="noStrike" kern="1200" cap="all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Semibold"/>
                <a:sym typeface="Metric Semibold"/>
              </a:rPr>
              <a:t>av</a:t>
            </a:r>
            <a:r>
              <a:rPr kumimoji="0" sz="1404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Semibold"/>
                <a:sym typeface="Metric Semibold"/>
              </a:rPr>
              <a:t> </a:t>
            </a:r>
            <a:r>
              <a:rPr kumimoji="0" sz="1404" b="0" i="0" u="none" strike="noStrike" kern="1200" cap="all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Semibold"/>
                <a:sym typeface="Metric Semibold"/>
              </a:rPr>
              <a:t>kundene</a:t>
            </a:r>
            <a:r>
              <a:rPr kumimoji="0" sz="1404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Semibold"/>
                <a:sym typeface="Metric Semibold"/>
              </a:rPr>
              <a:t> </a:t>
            </a:r>
            <a:br>
              <a:rPr kumimoji="0" sz="1404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Semibold"/>
                <a:sym typeface="Metric Semibold"/>
              </a:rPr>
            </a:br>
            <a:r>
              <a:rPr kumimoji="0" sz="1404" b="0" i="0" u="none" strike="noStrike" kern="1200" cap="all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Light"/>
                <a:ea typeface="Metric Light"/>
                <a:cs typeface="Metric Light"/>
                <a:sym typeface="Metric Light"/>
              </a:rPr>
              <a:t>bor</a:t>
            </a:r>
            <a:r>
              <a:rPr kumimoji="0" sz="1404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Light"/>
                <a:ea typeface="Metric Light"/>
                <a:cs typeface="Metric Light"/>
                <a:sym typeface="Metric Light"/>
              </a:rPr>
              <a:t> i </a:t>
            </a:r>
            <a:r>
              <a:rPr kumimoji="0" sz="1404" b="0" i="0" u="none" strike="noStrike" kern="1200" cap="all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Light"/>
                <a:ea typeface="Metric Light"/>
                <a:cs typeface="Metric Light"/>
                <a:sym typeface="Metric Light"/>
              </a:rPr>
              <a:t>boligselskap</a:t>
            </a:r>
            <a:endParaRPr kumimoji="0" sz="1404" b="0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Metric Light"/>
              <a:ea typeface="Metric Light"/>
              <a:cs typeface="Metric Light"/>
              <a:sym typeface="Metric Light"/>
            </a:endParaRPr>
          </a:p>
        </p:txBody>
      </p:sp>
      <p:sp>
        <p:nvSpPr>
          <p:cNvPr id="20" name="TextBox 22">
            <a:extLst>
              <a:ext uri="{FF2B5EF4-FFF2-40B4-BE49-F238E27FC236}">
                <a16:creationId xmlns:a16="http://schemas.microsoft.com/office/drawing/2014/main" id="{753C53F4-8FDC-4EBC-886D-C2FF4B64E0B7}"/>
              </a:ext>
            </a:extLst>
          </p:cNvPr>
          <p:cNvSpPr txBox="1"/>
          <p:nvPr/>
        </p:nvSpPr>
        <p:spPr>
          <a:xfrm>
            <a:off x="4974654" y="3846746"/>
            <a:ext cx="2858867" cy="515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1141" tIns="41141" rIns="41141" bIns="4114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cap="all">
                <a:solidFill>
                  <a:srgbClr val="39393A"/>
                </a:solidFill>
                <a:latin typeface="Metric Semibold"/>
                <a:ea typeface="Metric Semibold"/>
                <a:cs typeface="Metric Semibold"/>
                <a:sym typeface="Metric Semibold"/>
              </a:defRPr>
            </a:pPr>
            <a:r>
              <a:rPr kumimoji="0" sz="1404" b="0" i="0" u="none" strike="noStrike" kern="1200" cap="all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Semibold"/>
                <a:sym typeface="Metric Semibold"/>
              </a:rPr>
              <a:t>av boligselskapene</a:t>
            </a:r>
          </a:p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cap="all">
                <a:solidFill>
                  <a:srgbClr val="39393A"/>
                </a:solidFill>
              </a:defRPr>
            </a:pPr>
            <a:r>
              <a:rPr kumimoji="0" sz="1404" b="0" i="0" u="none" strike="noStrike" kern="1200" cap="all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har vært kunder i over 10 år</a:t>
            </a:r>
          </a:p>
        </p:txBody>
      </p:sp>
      <p:sp>
        <p:nvSpPr>
          <p:cNvPr id="24" name="Rectangle 1">
            <a:extLst>
              <a:ext uri="{FF2B5EF4-FFF2-40B4-BE49-F238E27FC236}">
                <a16:creationId xmlns:a16="http://schemas.microsoft.com/office/drawing/2014/main" id="{F1FB6E9A-1E2E-4787-A16C-CB47A9AE0E5E}"/>
              </a:ext>
            </a:extLst>
          </p:cNvPr>
          <p:cNvSpPr txBox="1"/>
          <p:nvPr/>
        </p:nvSpPr>
        <p:spPr>
          <a:xfrm>
            <a:off x="1624542" y="2259792"/>
            <a:ext cx="2307168" cy="18620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11500" cap="all">
                <a:solidFill>
                  <a:srgbClr val="39393A"/>
                </a:solidFill>
              </a:defRPr>
            </a:lvl1pPr>
          </a:lstStyle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5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72%</a:t>
            </a:r>
          </a:p>
        </p:txBody>
      </p:sp>
    </p:spTree>
    <p:extLst>
      <p:ext uri="{BB962C8B-B14F-4D97-AF65-F5344CB8AC3E}">
        <p14:creationId xmlns:p14="http://schemas.microsoft.com/office/powerpoint/2010/main" val="109491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 advAuto="0"/>
      <p:bldP spid="20" grpId="0" animBg="1" advAuto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1391" y="4607742"/>
            <a:ext cx="1344857" cy="756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Picture 19" descr="http://www.induonet.com/wp-content/uploads/2013/09/fiber-kabel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121276">
            <a:off x="1983680" y="4625620"/>
            <a:ext cx="940161" cy="623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-1846456" y="3096713"/>
            <a:ext cx="10928403" cy="649105"/>
            <a:chOff x="-330136" y="2840276"/>
            <a:chExt cx="10037967" cy="649105"/>
          </a:xfrm>
        </p:grpSpPr>
        <p:sp>
          <p:nvSpPr>
            <p:cNvPr id="7" name="Rectangle 6"/>
            <p:cNvSpPr/>
            <p:nvPr/>
          </p:nvSpPr>
          <p:spPr>
            <a:xfrm>
              <a:off x="-330136" y="2982455"/>
              <a:ext cx="10037967" cy="35232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endParaRPr>
            </a:p>
          </p:txBody>
        </p:sp>
        <p:sp>
          <p:nvSpPr>
            <p:cNvPr id="122" name="Collate 121"/>
            <p:cNvSpPr/>
            <p:nvPr/>
          </p:nvSpPr>
          <p:spPr>
            <a:xfrm>
              <a:off x="918805" y="2840276"/>
              <a:ext cx="536455" cy="649105"/>
            </a:xfrm>
            <a:prstGeom prst="flowChartCollat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endParaRPr>
            </a:p>
          </p:txBody>
        </p:sp>
      </p:grpSp>
      <p:sp>
        <p:nvSpPr>
          <p:cNvPr id="8" name="Title 7"/>
          <p:cNvSpPr>
            <a:spLocks noGrp="1"/>
          </p:cNvSpPr>
          <p:nvPr>
            <p:ph type="title" idx="4294967295"/>
          </p:nvPr>
        </p:nvSpPr>
        <p:spPr>
          <a:xfrm>
            <a:off x="0" y="542209"/>
            <a:ext cx="9144000" cy="323850"/>
          </a:xfrm>
        </p:spPr>
        <p:txBody>
          <a:bodyPr>
            <a:noAutofit/>
          </a:bodyPr>
          <a:lstStyle/>
          <a:p>
            <a:r>
              <a:rPr lang="nb-NO" sz="2400" dirty="0" err="1">
                <a:solidFill>
                  <a:srgbClr val="4A4B4F"/>
                </a:solidFill>
                <a:latin typeface="+mj-lt"/>
                <a:cs typeface="Metric Thin"/>
              </a:rPr>
              <a:t>Kundedrevet</a:t>
            </a:r>
            <a:r>
              <a:rPr lang="en-US" sz="2400" dirty="0">
                <a:solidFill>
                  <a:srgbClr val="4A4B4F"/>
                </a:solidFill>
                <a:latin typeface="+mj-lt"/>
                <a:cs typeface="Metric Thin"/>
              </a:rPr>
              <a:t> INNOVASJON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5358997" y="3331834"/>
            <a:ext cx="325438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13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Semibold"/>
              <a:ea typeface="+mn-ea"/>
              <a:cs typeface="Arial"/>
              <a:sym typeface="Metric Regular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4307932" y="3331834"/>
            <a:ext cx="304800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7E3941-B93C-4D18-81CA-4D54E55989DD}" type="datetime'''''''''''''''''''''''''''''''2''0''''''''11'''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pPr marL="0" marR="0" lvl="0" indent="0" algn="ctr" defTabSz="71311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1</a:t>
            </a:fld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Semibold"/>
              <a:ea typeface="+mn-ea"/>
              <a:cs typeface="Arial"/>
              <a:sym typeface="Metric Regular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3220354" y="3331834"/>
            <a:ext cx="341313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09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Semibold"/>
              <a:ea typeface="+mn-ea"/>
              <a:cs typeface="Arial"/>
              <a:sym typeface="Metric Regular"/>
            </a:endParaRPr>
          </a:p>
        </p:txBody>
      </p:sp>
      <p:sp>
        <p:nvSpPr>
          <p:cNvPr id="61" name="Rectangle 60"/>
          <p:cNvSpPr/>
          <p:nvPr/>
        </p:nvSpPr>
        <p:spPr bwMode="auto">
          <a:xfrm>
            <a:off x="2105789" y="3331834"/>
            <a:ext cx="368300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07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Semibold"/>
              <a:ea typeface="+mn-ea"/>
              <a:cs typeface="Arial"/>
              <a:sym typeface="Metric Regular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989636" y="3331834"/>
            <a:ext cx="369888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05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Semibold"/>
              <a:ea typeface="+mn-ea"/>
              <a:cs typeface="Arial"/>
              <a:sym typeface="Metric Regular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-720449" y="3331834"/>
            <a:ext cx="368300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Arial"/>
                <a:sym typeface="Metric Regular"/>
              </a:rPr>
              <a:t>1968</a:t>
            </a:r>
          </a:p>
        </p:txBody>
      </p:sp>
      <p:sp>
        <p:nvSpPr>
          <p:cNvPr id="76" name="Text Placeholder 1"/>
          <p:cNvSpPr>
            <a:spLocks noGrp="1"/>
          </p:cNvSpPr>
          <p:nvPr/>
        </p:nvSpPr>
        <p:spPr bwMode="auto">
          <a:xfrm>
            <a:off x="6287398" y="3331834"/>
            <a:ext cx="335959" cy="1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spAutoFit/>
          </a:bodyPr>
          <a:lstStyle>
            <a:lvl1pPr marL="108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15</a:t>
            </a:r>
          </a:p>
        </p:txBody>
      </p:sp>
      <p:sp>
        <p:nvSpPr>
          <p:cNvPr id="121" name="Rectangle 120"/>
          <p:cNvSpPr/>
          <p:nvPr/>
        </p:nvSpPr>
        <p:spPr bwMode="auto">
          <a:xfrm>
            <a:off x="-11592" y="3331834"/>
            <a:ext cx="360363" cy="1538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01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 Semibold"/>
              <a:ea typeface="+mn-ea"/>
              <a:cs typeface="Arial"/>
              <a:sym typeface="Metric Regular"/>
            </a:endParaRPr>
          </a:p>
        </p:txBody>
      </p:sp>
      <p:sp>
        <p:nvSpPr>
          <p:cNvPr id="47" name="TextBox 20"/>
          <p:cNvSpPr txBox="1"/>
          <p:nvPr/>
        </p:nvSpPr>
        <p:spPr>
          <a:xfrm>
            <a:off x="5877593" y="4197677"/>
            <a:ext cx="1036767" cy="507817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 Europ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1 </a:t>
            </a:r>
            <a:r>
              <a:rPr kumimoji="0" lang="nb-NO" sz="900" b="0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GbPS</a:t>
            </a: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 te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på HFC</a:t>
            </a:r>
          </a:p>
        </p:txBody>
      </p:sp>
      <p:sp>
        <p:nvSpPr>
          <p:cNvPr id="52" name="TextBox 17"/>
          <p:cNvSpPr txBox="1"/>
          <p:nvPr/>
        </p:nvSpPr>
        <p:spPr>
          <a:xfrm>
            <a:off x="3909739" y="4179189"/>
            <a:ext cx="1379219" cy="338540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Verdens me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avanser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TV boks - GBII</a:t>
            </a:r>
          </a:p>
        </p:txBody>
      </p:sp>
      <p:cxnSp>
        <p:nvCxnSpPr>
          <p:cNvPr id="87" name="Straight Connector 86"/>
          <p:cNvCxnSpPr/>
          <p:nvPr/>
        </p:nvCxnSpPr>
        <p:spPr>
          <a:xfrm>
            <a:off x="4350339" y="3608023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4258040" y="4140183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1" name="Picture 10" descr="Get boks 2.jpg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1190" y="4659329"/>
            <a:ext cx="1147196" cy="472874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38" name="TextBox 37"/>
          <p:cNvSpPr txBox="1"/>
          <p:nvPr/>
        </p:nvSpPr>
        <p:spPr>
          <a:xfrm>
            <a:off x="3047172" y="4179189"/>
            <a:ext cx="889959" cy="338540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Europ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200 </a:t>
            </a:r>
            <a:r>
              <a:rPr kumimoji="0" lang="nb-NO" sz="900" b="0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mbps</a:t>
            </a:r>
            <a:endParaRPr kumimoji="0" lang="nb-NO" sz="9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/>
              <a:ea typeface="+mn-ea"/>
              <a:cs typeface="Metric Regular"/>
            </a:endParaRPr>
          </a:p>
        </p:txBody>
      </p:sp>
      <p:cxnSp>
        <p:nvCxnSpPr>
          <p:cNvPr id="86" name="Straight Connector 85"/>
          <p:cNvCxnSpPr/>
          <p:nvPr/>
        </p:nvCxnSpPr>
        <p:spPr>
          <a:xfrm>
            <a:off x="3744562" y="3608023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3158453" y="4140183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6" name="Picture 25" descr="200.pn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0409" y="4637477"/>
            <a:ext cx="1206178" cy="754482"/>
          </a:xfrm>
          <a:prstGeom prst="rect">
            <a:avLst/>
          </a:prstGeom>
        </p:spPr>
      </p:pic>
      <p:sp>
        <p:nvSpPr>
          <p:cNvPr id="34" name="TextBox 10"/>
          <p:cNvSpPr txBox="1"/>
          <p:nvPr/>
        </p:nvSpPr>
        <p:spPr>
          <a:xfrm>
            <a:off x="1993074" y="4189208"/>
            <a:ext cx="1050257" cy="507817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 verden Kabelselska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med alt over IP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2256677" y="3599556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2181858" y="4140183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1" name="TextBox 2"/>
          <p:cNvSpPr txBox="1"/>
          <p:nvPr/>
        </p:nvSpPr>
        <p:spPr>
          <a:xfrm>
            <a:off x="1049673" y="4179189"/>
            <a:ext cx="912057" cy="314863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Norge M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PVR</a:t>
            </a:r>
          </a:p>
        </p:txBody>
      </p:sp>
      <p:cxnSp>
        <p:nvCxnSpPr>
          <p:cNvPr id="79" name="Straight Connector 78"/>
          <p:cNvCxnSpPr/>
          <p:nvPr/>
        </p:nvCxnSpPr>
        <p:spPr>
          <a:xfrm>
            <a:off x="1529266" y="3608023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100722" y="4140183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ABF3A685-DF3D-4A29-963A-7E00C08FDED5}"/>
              </a:ext>
            </a:extLst>
          </p:cNvPr>
          <p:cNvCxnSpPr/>
          <p:nvPr/>
        </p:nvCxnSpPr>
        <p:spPr>
          <a:xfrm>
            <a:off x="200447" y="4140183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9" name="Oval 148"/>
          <p:cNvSpPr/>
          <p:nvPr/>
        </p:nvSpPr>
        <p:spPr>
          <a:xfrm>
            <a:off x="-209070" y="3558644"/>
            <a:ext cx="63086" cy="63086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cxnSp>
        <p:nvCxnSpPr>
          <p:cNvPr id="153" name="Straight Connector 152"/>
          <p:cNvCxnSpPr/>
          <p:nvPr/>
        </p:nvCxnSpPr>
        <p:spPr>
          <a:xfrm>
            <a:off x="5308946" y="3608023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5187835" y="4140183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56" name="Picture 155" descr="1gbps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9163" y="4772210"/>
            <a:ext cx="880795" cy="274834"/>
          </a:xfrm>
          <a:prstGeom prst="rect">
            <a:avLst/>
          </a:prstGeom>
        </p:spPr>
      </p:pic>
      <p:cxnSp>
        <p:nvCxnSpPr>
          <p:cNvPr id="90" name="Straight Connector 89"/>
          <p:cNvCxnSpPr/>
          <p:nvPr/>
        </p:nvCxnSpPr>
        <p:spPr>
          <a:xfrm>
            <a:off x="6098636" y="3618086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6066352" y="4142295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5" name="Oval 94"/>
          <p:cNvSpPr/>
          <p:nvPr/>
        </p:nvSpPr>
        <p:spPr>
          <a:xfrm flipV="1">
            <a:off x="6068940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pic>
        <p:nvPicPr>
          <p:cNvPr id="100" name="Picture 22" descr="https://www.get.no/kundeservice/sos/TV/Brukerveiledninger/_image/28965.png?_encoded=2f66666666666678302f35382f&amp;_ts=13943cdc9ce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0621" y="4830212"/>
            <a:ext cx="924722" cy="209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521" y="1481379"/>
            <a:ext cx="974088" cy="701575"/>
          </a:xfrm>
          <a:prstGeom prst="rect">
            <a:avLst/>
          </a:prstGeom>
        </p:spPr>
      </p:pic>
      <p:sp>
        <p:nvSpPr>
          <p:cNvPr id="114" name="Text Placeholder 1"/>
          <p:cNvSpPr>
            <a:spLocks noGrp="1"/>
          </p:cNvSpPr>
          <p:nvPr/>
        </p:nvSpPr>
        <p:spPr bwMode="auto">
          <a:xfrm>
            <a:off x="7031200" y="3325010"/>
            <a:ext cx="335959" cy="1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spAutoFit/>
          </a:bodyPr>
          <a:lstStyle>
            <a:lvl1pPr marL="108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16</a:t>
            </a:r>
          </a:p>
        </p:txBody>
      </p:sp>
      <p:sp>
        <p:nvSpPr>
          <p:cNvPr id="116" name="TextBox 20"/>
          <p:cNvSpPr txBox="1"/>
          <p:nvPr/>
        </p:nvSpPr>
        <p:spPr>
          <a:xfrm>
            <a:off x="6603030" y="4160637"/>
            <a:ext cx="1217835" cy="507817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NES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GENERASJ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TV OPPLEVELSE </a:t>
            </a:r>
          </a:p>
        </p:txBody>
      </p:sp>
      <p:cxnSp>
        <p:nvCxnSpPr>
          <p:cNvPr id="123" name="Straight Connector 122"/>
          <p:cNvCxnSpPr>
            <a:cxnSpLocks/>
          </p:cNvCxnSpPr>
          <p:nvPr/>
        </p:nvCxnSpPr>
        <p:spPr>
          <a:xfrm>
            <a:off x="6881970" y="4142295"/>
            <a:ext cx="784923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>
            <a:off x="7267475" y="3626038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1" name="Oval 130"/>
          <p:cNvSpPr/>
          <p:nvPr/>
        </p:nvSpPr>
        <p:spPr>
          <a:xfrm flipV="1">
            <a:off x="7237779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15" name="Text Placeholder 1"/>
          <p:cNvSpPr>
            <a:spLocks noGrp="1"/>
          </p:cNvSpPr>
          <p:nvPr/>
        </p:nvSpPr>
        <p:spPr bwMode="auto">
          <a:xfrm>
            <a:off x="7779337" y="3328102"/>
            <a:ext cx="335959" cy="1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spAutoFit/>
          </a:bodyPr>
          <a:lstStyle>
            <a:lvl1pPr marL="108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17</a:t>
            </a:r>
          </a:p>
        </p:txBody>
      </p:sp>
      <p:sp>
        <p:nvSpPr>
          <p:cNvPr id="136" name="TextBox 20"/>
          <p:cNvSpPr txBox="1"/>
          <p:nvPr/>
        </p:nvSpPr>
        <p:spPr>
          <a:xfrm>
            <a:off x="7539949" y="4193839"/>
            <a:ext cx="1788548" cy="507817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 verden som superagrega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Med valgpoeng</a:t>
            </a:r>
          </a:p>
        </p:txBody>
      </p:sp>
      <p:cxnSp>
        <p:nvCxnSpPr>
          <p:cNvPr id="140" name="Straight Connector 139"/>
          <p:cNvCxnSpPr>
            <a:cxnSpLocks/>
          </p:cNvCxnSpPr>
          <p:nvPr/>
        </p:nvCxnSpPr>
        <p:spPr>
          <a:xfrm>
            <a:off x="7847681" y="4140183"/>
            <a:ext cx="1014966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8143829" y="3618758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5" name="Oval 144"/>
          <p:cNvSpPr/>
          <p:nvPr/>
        </p:nvSpPr>
        <p:spPr>
          <a:xfrm flipV="1">
            <a:off x="8112286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46" name="Text Placeholder 1">
            <a:extLst>
              <a:ext uri="{FF2B5EF4-FFF2-40B4-BE49-F238E27FC236}">
                <a16:creationId xmlns:a16="http://schemas.microsoft.com/office/drawing/2014/main" id="{39440971-5FBC-4228-A347-8D786D0F64D7}"/>
              </a:ext>
            </a:extLst>
          </p:cNvPr>
          <p:cNvSpPr>
            <a:spLocks noGrp="1"/>
          </p:cNvSpPr>
          <p:nvPr/>
        </p:nvSpPr>
        <p:spPr bwMode="auto">
          <a:xfrm>
            <a:off x="8474682" y="3325010"/>
            <a:ext cx="335959" cy="15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spAutoFit/>
          </a:bodyPr>
          <a:lstStyle>
            <a:lvl1pPr marL="108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10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−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Semibold"/>
                <a:ea typeface="+mn-ea"/>
                <a:cs typeface="+mn-cs"/>
                <a:sym typeface="Metric Regular"/>
              </a:rPr>
              <a:t>2018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79269" y="1789143"/>
            <a:ext cx="1063179" cy="1479104"/>
            <a:chOff x="3209037" y="1532706"/>
            <a:chExt cx="1063179" cy="1479104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3566503" y="2478151"/>
              <a:ext cx="8871" cy="503417"/>
            </a:xfrm>
            <a:prstGeom prst="line">
              <a:avLst/>
            </a:prstGeom>
            <a:ln>
              <a:prstDash val="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2" name="TextBox 7"/>
            <p:cNvSpPr txBox="1"/>
            <p:nvPr/>
          </p:nvSpPr>
          <p:spPr>
            <a:xfrm>
              <a:off x="3317975" y="1934640"/>
              <a:ext cx="898251" cy="507817"/>
            </a:xfrm>
            <a:prstGeom prst="rect">
              <a:avLst/>
            </a:prstGeom>
            <a:noFill/>
          </p:spPr>
          <p:txBody>
            <a:bodyPr wrap="square" lIns="91426" tIns="45713" rIns="91426" bIns="45713" rtlCol="0">
              <a:spAutoFit/>
            </a:bodyPr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Raskest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BB i Norg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2.0 – 26 </a:t>
              </a:r>
              <a:r>
                <a:rPr kumimoji="0" lang="nb-NO" sz="900" b="0" i="0" u="none" strike="noStrike" kern="1200" cap="all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mbps</a:t>
              </a:r>
              <a:endPara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endParaRPr>
            </a:p>
          </p:txBody>
        </p:sp>
        <p:cxnSp>
          <p:nvCxnSpPr>
            <p:cNvPr id="118" name="Straight Connector 117"/>
            <p:cNvCxnSpPr/>
            <p:nvPr/>
          </p:nvCxnSpPr>
          <p:spPr>
            <a:xfrm>
              <a:off x="3424506" y="2441680"/>
              <a:ext cx="663677" cy="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pic>
          <p:nvPicPr>
            <p:cNvPr id="28" name="Picture 27" descr="gepard.png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9037" y="1532706"/>
              <a:ext cx="1063179" cy="406720"/>
            </a:xfrm>
            <a:prstGeom prst="rect">
              <a:avLst/>
            </a:prstGeom>
          </p:spPr>
        </p:pic>
        <p:sp>
          <p:nvSpPr>
            <p:cNvPr id="126" name="Oval 125"/>
            <p:cNvSpPr/>
            <p:nvPr/>
          </p:nvSpPr>
          <p:spPr>
            <a:xfrm>
              <a:off x="3543780" y="2948724"/>
              <a:ext cx="63086" cy="63086"/>
            </a:xfrm>
            <a:prstGeom prst="ellipse">
              <a:avLst/>
            </a:prstGeom>
            <a:solidFill>
              <a:schemeClr val="accent2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Light"/>
                  <a:ea typeface="+mn-ea"/>
                  <a:cs typeface="+mn-cs"/>
                </a:rPr>
                <a:t>v</a:t>
              </a:r>
            </a:p>
          </p:txBody>
        </p:sp>
      </p:grpSp>
      <p:cxnSp>
        <p:nvCxnSpPr>
          <p:cNvPr id="80" name="Straight Connector 79"/>
          <p:cNvCxnSpPr/>
          <p:nvPr/>
        </p:nvCxnSpPr>
        <p:spPr>
          <a:xfrm>
            <a:off x="2588429" y="2734588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/>
          <p:nvPr/>
        </p:nvCxnSpPr>
        <p:spPr>
          <a:xfrm>
            <a:off x="2399722" y="2698117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27" name="Oval 126"/>
          <p:cNvSpPr/>
          <p:nvPr/>
        </p:nvSpPr>
        <p:spPr>
          <a:xfrm>
            <a:off x="2562837" y="3205161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3293548" y="1789142"/>
            <a:ext cx="1325976" cy="1479105"/>
            <a:chOff x="6640904" y="1532705"/>
            <a:chExt cx="1325976" cy="1479105"/>
          </a:xfrm>
        </p:grpSpPr>
        <p:cxnSp>
          <p:nvCxnSpPr>
            <p:cNvPr id="85" name="Straight Connector 84"/>
            <p:cNvCxnSpPr/>
            <p:nvPr/>
          </p:nvCxnSpPr>
          <p:spPr>
            <a:xfrm>
              <a:off x="7489593" y="2478151"/>
              <a:ext cx="8871" cy="503417"/>
            </a:xfrm>
            <a:prstGeom prst="line">
              <a:avLst/>
            </a:prstGeom>
            <a:ln>
              <a:prstDash val="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6640904" y="1934640"/>
              <a:ext cx="1325976" cy="507817"/>
            </a:xfrm>
            <a:prstGeom prst="rect">
              <a:avLst/>
            </a:prstGeom>
            <a:noFill/>
          </p:spPr>
          <p:txBody>
            <a:bodyPr wrap="square" lIns="91426" tIns="45713" rIns="91426" bIns="45713" rtlCol="0">
              <a:spAutoFit/>
            </a:bodyPr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Verdens minst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TV bok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Get</a:t>
              </a: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 Box Mikro</a:t>
              </a: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42358" y="1532705"/>
              <a:ext cx="743458" cy="334606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cxnSp>
          <p:nvCxnSpPr>
            <p:cNvPr id="111" name="Straight Connector 110"/>
            <p:cNvCxnSpPr/>
            <p:nvPr/>
          </p:nvCxnSpPr>
          <p:spPr>
            <a:xfrm>
              <a:off x="6980503" y="2441680"/>
              <a:ext cx="663677" cy="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30" name="Oval 129"/>
            <p:cNvSpPr/>
            <p:nvPr/>
          </p:nvSpPr>
          <p:spPr>
            <a:xfrm>
              <a:off x="7468098" y="2948724"/>
              <a:ext cx="63086" cy="63086"/>
            </a:xfrm>
            <a:prstGeom prst="ellipse">
              <a:avLst/>
            </a:prstGeom>
            <a:solidFill>
              <a:schemeClr val="accent2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Light"/>
                  <a:ea typeface="+mn-ea"/>
                  <a:cs typeface="+mn-cs"/>
                </a:rPr>
                <a:t>v</a:t>
              </a: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2278420" y="2189518"/>
            <a:ext cx="915607" cy="338540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Nor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ilmleie (VOD)</a:t>
            </a:r>
          </a:p>
        </p:txBody>
      </p:sp>
      <p:sp>
        <p:nvSpPr>
          <p:cNvPr id="46" name="TextBox 19"/>
          <p:cNvSpPr txBox="1"/>
          <p:nvPr/>
        </p:nvSpPr>
        <p:spPr>
          <a:xfrm>
            <a:off x="4530844" y="2181051"/>
            <a:ext cx="1120791" cy="338540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Verdens me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leksib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TV-tilbud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525248" y="2196373"/>
            <a:ext cx="1371460" cy="477213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Smart brannvarsling for boligselskap</a:t>
            </a:r>
            <a:endParaRPr kumimoji="0" lang="en-US" sz="9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/>
              <a:ea typeface="+mn-ea"/>
              <a:cs typeface="Metric Regular"/>
            </a:endParaRPr>
          </a:p>
        </p:txBody>
      </p:sp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7524" y="1550848"/>
            <a:ext cx="949519" cy="534084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22" name="Picture 21" descr="filmleie.p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4820" y="1701514"/>
            <a:ext cx="1290396" cy="515059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7650844" y="2110637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Light"/>
              <a:ea typeface="+mn-ea"/>
              <a:cs typeface="+mn-c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-59118" y="2191077"/>
            <a:ext cx="1126059" cy="1077170"/>
            <a:chOff x="1967442" y="1934640"/>
            <a:chExt cx="1126059" cy="1077170"/>
          </a:xfrm>
        </p:grpSpPr>
        <p:cxnSp>
          <p:nvCxnSpPr>
            <p:cNvPr id="94" name="Straight Connector 93"/>
            <p:cNvCxnSpPr/>
            <p:nvPr/>
          </p:nvCxnSpPr>
          <p:spPr>
            <a:xfrm>
              <a:off x="2694454" y="2478151"/>
              <a:ext cx="8871" cy="503417"/>
            </a:xfrm>
            <a:prstGeom prst="line">
              <a:avLst/>
            </a:prstGeom>
            <a:ln>
              <a:prstDash val="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03" name="TextBox 7"/>
            <p:cNvSpPr txBox="1"/>
            <p:nvPr/>
          </p:nvSpPr>
          <p:spPr>
            <a:xfrm>
              <a:off x="1967442" y="1934640"/>
              <a:ext cx="1126059" cy="507817"/>
            </a:xfrm>
            <a:prstGeom prst="rect">
              <a:avLst/>
            </a:prstGeom>
            <a:noFill/>
          </p:spPr>
          <p:txBody>
            <a:bodyPr wrap="square" lIns="91426" tIns="45713" rIns="91426" bIns="45713" rtlCol="0">
              <a:spAutoFit/>
            </a:bodyPr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all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 Regular"/>
                  <a:ea typeface="+mn-ea"/>
                  <a:cs typeface="Metric Regular"/>
                </a:rPr>
                <a:t>FØRST I NORGE MED KOLLEKTIV BREDBÅND</a:t>
              </a:r>
            </a:p>
          </p:txBody>
        </p:sp>
        <p:cxnSp>
          <p:nvCxnSpPr>
            <p:cNvPr id="104" name="Straight Connector 103"/>
            <p:cNvCxnSpPr/>
            <p:nvPr/>
          </p:nvCxnSpPr>
          <p:spPr>
            <a:xfrm>
              <a:off x="2129107" y="2441680"/>
              <a:ext cx="663677" cy="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06" name="Oval 105"/>
            <p:cNvSpPr/>
            <p:nvPr/>
          </p:nvSpPr>
          <p:spPr>
            <a:xfrm>
              <a:off x="2671731" y="2948724"/>
              <a:ext cx="63086" cy="63086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Light"/>
                  <a:ea typeface="+mn-ea"/>
                  <a:cs typeface="+mn-cs"/>
                </a:rPr>
                <a:t>v</a:t>
              </a:r>
            </a:p>
          </p:txBody>
        </p:sp>
      </p:grpSp>
      <p:sp>
        <p:nvSpPr>
          <p:cNvPr id="120" name="Oval 119"/>
          <p:cNvSpPr/>
          <p:nvPr/>
        </p:nvSpPr>
        <p:spPr>
          <a:xfrm>
            <a:off x="-945519" y="3205161"/>
            <a:ext cx="63086" cy="63086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cxnSp>
        <p:nvCxnSpPr>
          <p:cNvPr id="150" name="Straight Connector 149"/>
          <p:cNvCxnSpPr/>
          <p:nvPr/>
        </p:nvCxnSpPr>
        <p:spPr>
          <a:xfrm>
            <a:off x="4862995" y="2734588"/>
            <a:ext cx="8871" cy="503417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>
            <a:off x="4780807" y="2698117"/>
            <a:ext cx="663677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52" name="Oval 151"/>
          <p:cNvSpPr/>
          <p:nvPr/>
        </p:nvSpPr>
        <p:spPr>
          <a:xfrm>
            <a:off x="4840408" y="3205161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1806" y="1715195"/>
            <a:ext cx="558952" cy="406510"/>
          </a:xfrm>
          <a:prstGeom prst="rect">
            <a:avLst/>
          </a:prstGeom>
        </p:spPr>
      </p:pic>
      <p:sp>
        <p:nvSpPr>
          <p:cNvPr id="101" name="TextBox 100"/>
          <p:cNvSpPr txBox="1"/>
          <p:nvPr/>
        </p:nvSpPr>
        <p:spPr>
          <a:xfrm>
            <a:off x="5342297" y="2193609"/>
            <a:ext cx="1499164" cy="477213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 VERDEN </a:t>
            </a:r>
          </a:p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MED UBEGRENSET </a:t>
            </a:r>
          </a:p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SKYLAGRING</a:t>
            </a:r>
            <a:endParaRPr kumimoji="0" lang="en-US" sz="9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/>
              <a:ea typeface="+mn-ea"/>
              <a:cs typeface="Metric Regular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5784393" y="2691280"/>
            <a:ext cx="795759" cy="13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>
            <a:cxnSpLocks/>
          </p:cNvCxnSpPr>
          <p:nvPr/>
        </p:nvCxnSpPr>
        <p:spPr>
          <a:xfrm>
            <a:off x="6571402" y="2708031"/>
            <a:ext cx="0" cy="468559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0" name="Oval 109"/>
          <p:cNvSpPr/>
          <p:nvPr/>
        </p:nvSpPr>
        <p:spPr>
          <a:xfrm>
            <a:off x="6539944" y="3198337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7679739" y="2192629"/>
            <a:ext cx="1499164" cy="477213"/>
          </a:xfrm>
          <a:prstGeom prst="rect">
            <a:avLst/>
          </a:prstGeom>
          <a:noFill/>
        </p:spPr>
        <p:txBody>
          <a:bodyPr wrap="square" lIns="91426" tIns="45713" rIns="91426" bIns="45713" rtlCol="0"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Smarte hjem og</a:t>
            </a:r>
          </a:p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Smarte bygg</a:t>
            </a:r>
            <a:endParaRPr kumimoji="0" lang="en-US" sz="9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 Regular"/>
              <a:ea typeface="+mn-ea"/>
              <a:cs typeface="Metric Regular"/>
            </a:endParaRPr>
          </a:p>
        </p:txBody>
      </p:sp>
      <p:pic>
        <p:nvPicPr>
          <p:cNvPr id="157" name="Picture 24">
            <a:extLst>
              <a:ext uri="{FF2B5EF4-FFF2-40B4-BE49-F238E27FC236}">
                <a16:creationId xmlns:a16="http://schemas.microsoft.com/office/drawing/2014/main" id="{E89838F8-1C54-4510-9F0F-31B0B2CB8DB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045355" y="1429428"/>
            <a:ext cx="629729" cy="694320"/>
          </a:xfrm>
          <a:prstGeom prst="rect">
            <a:avLst/>
          </a:prstGeom>
        </p:spPr>
      </p:pic>
      <p:pic>
        <p:nvPicPr>
          <p:cNvPr id="27" name="Bilde 26">
            <a:extLst>
              <a:ext uri="{FF2B5EF4-FFF2-40B4-BE49-F238E27FC236}">
                <a16:creationId xmlns:a16="http://schemas.microsoft.com/office/drawing/2014/main" id="{EC312B99-6FD3-490C-BBC3-F2B7A9F04F6E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91837" y="1712226"/>
            <a:ext cx="414684" cy="314588"/>
          </a:xfrm>
          <a:prstGeom prst="rect">
            <a:avLst/>
          </a:prstGeom>
          <a:noFill/>
        </p:spPr>
      </p:pic>
      <p:sp>
        <p:nvSpPr>
          <p:cNvPr id="109" name="TextBox 7">
            <a:extLst>
              <a:ext uri="{FF2B5EF4-FFF2-40B4-BE49-F238E27FC236}">
                <a16:creationId xmlns:a16="http://schemas.microsoft.com/office/drawing/2014/main" id="{A2C512DD-B91C-4941-AABC-C276D8D388B2}"/>
              </a:ext>
            </a:extLst>
          </p:cNvPr>
          <p:cNvSpPr txBox="1"/>
          <p:nvPr/>
        </p:nvSpPr>
        <p:spPr>
          <a:xfrm>
            <a:off x="-40626" y="4196025"/>
            <a:ext cx="1114066" cy="369318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FØRST I NORGE MED KOLLEKTIV TV</a:t>
            </a: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B000064F-2873-4CDD-93FC-994B1AC526B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5792" y="4608302"/>
            <a:ext cx="560864" cy="42674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11DFA8A-7D93-4BF6-94C4-6ECBB50C1C0C}"/>
              </a:ext>
            </a:extLst>
          </p:cNvPr>
          <p:cNvGrpSpPr/>
          <p:nvPr/>
        </p:nvGrpSpPr>
        <p:grpSpPr>
          <a:xfrm rot="19957391">
            <a:off x="-4845" y="3662835"/>
            <a:ext cx="229178" cy="450910"/>
            <a:chOff x="163274" y="3631461"/>
            <a:chExt cx="229178" cy="450910"/>
          </a:xfrm>
        </p:grpSpPr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1C000E55-B5CC-4379-9BA1-E1507F935D0A}"/>
                </a:ext>
              </a:extLst>
            </p:cNvPr>
            <p:cNvCxnSpPr>
              <a:cxnSpLocks/>
              <a:stCxn id="148" idx="0"/>
            </p:cNvCxnSpPr>
            <p:nvPr/>
          </p:nvCxnSpPr>
          <p:spPr>
            <a:xfrm rot="1642609">
              <a:off x="163274" y="3660531"/>
              <a:ext cx="229178" cy="421840"/>
            </a:xfrm>
            <a:prstGeom prst="line">
              <a:avLst/>
            </a:prstGeom>
            <a:ln>
              <a:prstDash val="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37785BA5-2C0A-4AA4-8ABE-9059C2A262BC}"/>
                </a:ext>
              </a:extLst>
            </p:cNvPr>
            <p:cNvSpPr/>
            <p:nvPr/>
          </p:nvSpPr>
          <p:spPr>
            <a:xfrm>
              <a:off x="241555" y="3631461"/>
              <a:ext cx="63086" cy="63086"/>
            </a:xfrm>
            <a:prstGeom prst="ellipse">
              <a:avLst/>
            </a:prstGeom>
            <a:solidFill>
              <a:schemeClr val="accent2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31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 Light"/>
                  <a:ea typeface="+mn-ea"/>
                  <a:cs typeface="+mn-cs"/>
                </a:rPr>
                <a:t>v</a:t>
              </a:r>
            </a:p>
          </p:txBody>
        </p:sp>
      </p:grpSp>
      <p:sp>
        <p:nvSpPr>
          <p:cNvPr id="158" name="Oval 157">
            <a:extLst>
              <a:ext uri="{FF2B5EF4-FFF2-40B4-BE49-F238E27FC236}">
                <a16:creationId xmlns:a16="http://schemas.microsoft.com/office/drawing/2014/main" id="{DE10070C-5649-4CE3-AC3B-12BB4BE82B20}"/>
              </a:ext>
            </a:extLst>
          </p:cNvPr>
          <p:cNvSpPr/>
          <p:nvPr/>
        </p:nvSpPr>
        <p:spPr>
          <a:xfrm flipV="1">
            <a:off x="5278153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694CF1A1-69E7-4C36-94E3-D534A24A7284}"/>
              </a:ext>
            </a:extLst>
          </p:cNvPr>
          <p:cNvSpPr/>
          <p:nvPr/>
        </p:nvSpPr>
        <p:spPr>
          <a:xfrm flipV="1">
            <a:off x="4323405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F9EB19BB-BF4B-4701-908E-AE4D563A5525}"/>
              </a:ext>
            </a:extLst>
          </p:cNvPr>
          <p:cNvSpPr/>
          <p:nvPr/>
        </p:nvSpPr>
        <p:spPr>
          <a:xfrm flipV="1">
            <a:off x="3718426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55A98AA1-3634-406A-AB13-8C5F5A5BF711}"/>
              </a:ext>
            </a:extLst>
          </p:cNvPr>
          <p:cNvSpPr/>
          <p:nvPr/>
        </p:nvSpPr>
        <p:spPr>
          <a:xfrm flipV="1">
            <a:off x="2229569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01072E8B-C940-462A-AF7B-88442276DBFE}"/>
              </a:ext>
            </a:extLst>
          </p:cNvPr>
          <p:cNvSpPr/>
          <p:nvPr/>
        </p:nvSpPr>
        <p:spPr>
          <a:xfrm flipV="1">
            <a:off x="1501847" y="3561429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03215D4E-72B9-41F7-9407-C50745A35184}"/>
              </a:ext>
            </a:extLst>
          </p:cNvPr>
          <p:cNvCxnSpPr/>
          <p:nvPr/>
        </p:nvCxnSpPr>
        <p:spPr>
          <a:xfrm>
            <a:off x="6832436" y="2691280"/>
            <a:ext cx="795759" cy="13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BBB2D5D7-EE26-4291-A05E-A738F298A2CC}"/>
              </a:ext>
            </a:extLst>
          </p:cNvPr>
          <p:cNvCxnSpPr>
            <a:cxnSpLocks/>
          </p:cNvCxnSpPr>
          <p:nvPr/>
        </p:nvCxnSpPr>
        <p:spPr>
          <a:xfrm>
            <a:off x="7345125" y="2708031"/>
            <a:ext cx="0" cy="468559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60" name="Oval 159">
            <a:extLst>
              <a:ext uri="{FF2B5EF4-FFF2-40B4-BE49-F238E27FC236}">
                <a16:creationId xmlns:a16="http://schemas.microsoft.com/office/drawing/2014/main" id="{4B1BE773-8E22-46AA-A7B4-B7D61937BCFF}"/>
              </a:ext>
            </a:extLst>
          </p:cNvPr>
          <p:cNvSpPr/>
          <p:nvPr/>
        </p:nvSpPr>
        <p:spPr>
          <a:xfrm>
            <a:off x="7313667" y="3198337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9872D327-142E-45A7-92C7-E169359BC1C4}"/>
              </a:ext>
            </a:extLst>
          </p:cNvPr>
          <p:cNvCxnSpPr/>
          <p:nvPr/>
        </p:nvCxnSpPr>
        <p:spPr>
          <a:xfrm>
            <a:off x="7985987" y="2691280"/>
            <a:ext cx="795759" cy="13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94464A25-6CDD-4AED-8244-59E94CD0DEC3}"/>
              </a:ext>
            </a:extLst>
          </p:cNvPr>
          <p:cNvCxnSpPr>
            <a:cxnSpLocks/>
          </p:cNvCxnSpPr>
          <p:nvPr/>
        </p:nvCxnSpPr>
        <p:spPr>
          <a:xfrm>
            <a:off x="8498676" y="2708031"/>
            <a:ext cx="0" cy="468559"/>
          </a:xfrm>
          <a:prstGeom prst="line">
            <a:avLst/>
          </a:prstGeom>
          <a:ln>
            <a:prstDash val="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4E7DACEC-9D2B-46A2-ACCA-D48B0897E6D1}"/>
              </a:ext>
            </a:extLst>
          </p:cNvPr>
          <p:cNvSpPr/>
          <p:nvPr/>
        </p:nvSpPr>
        <p:spPr>
          <a:xfrm>
            <a:off x="8467218" y="3198337"/>
            <a:ext cx="63086" cy="63086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31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 Light"/>
                <a:ea typeface="+mn-ea"/>
                <a:cs typeface="+mn-cs"/>
              </a:rPr>
              <a:t>v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D504341-00A3-47AC-8FCC-DFCA6E5AD7E9}"/>
              </a:ext>
            </a:extLst>
          </p:cNvPr>
          <p:cNvGrpSpPr/>
          <p:nvPr/>
        </p:nvGrpSpPr>
        <p:grpSpPr>
          <a:xfrm>
            <a:off x="5187864" y="4649191"/>
            <a:ext cx="719382" cy="507563"/>
            <a:chOff x="5373770" y="3588453"/>
            <a:chExt cx="2017734" cy="1423620"/>
          </a:xfrm>
        </p:grpSpPr>
        <p:pic>
          <p:nvPicPr>
            <p:cNvPr id="168" name="Picture 4" descr="https://i2.wp.com/s3-us-west-2.amazonaws.com/s.cdpn.io/101702/ipad-air-vertical.png">
              <a:extLst>
                <a:ext uri="{FF2B5EF4-FFF2-40B4-BE49-F238E27FC236}">
                  <a16:creationId xmlns:a16="http://schemas.microsoft.com/office/drawing/2014/main" id="{E7F177EA-4264-4945-83C7-40FAAC5556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5670827" y="3291396"/>
              <a:ext cx="1423620" cy="2017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9" name="Picture 168">
              <a:extLst>
                <a:ext uri="{FF2B5EF4-FFF2-40B4-BE49-F238E27FC236}">
                  <a16:creationId xmlns:a16="http://schemas.microsoft.com/office/drawing/2014/main" id="{0FC9549E-02F4-48E4-A85D-1A459442A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2720" y="3678426"/>
              <a:ext cx="1681476" cy="1243857"/>
            </a:xfrm>
            <a:prstGeom prst="rect">
              <a:avLst/>
            </a:prstGeom>
          </p:spPr>
        </p:pic>
      </p:grpSp>
      <p:sp>
        <p:nvSpPr>
          <p:cNvPr id="170" name="TextBox 20">
            <a:extLst>
              <a:ext uri="{FF2B5EF4-FFF2-40B4-BE49-F238E27FC236}">
                <a16:creationId xmlns:a16="http://schemas.microsoft.com/office/drawing/2014/main" id="{A661A133-FE6A-4467-AB1F-9BCB3798C4EB}"/>
              </a:ext>
            </a:extLst>
          </p:cNvPr>
          <p:cNvSpPr txBox="1"/>
          <p:nvPr/>
        </p:nvSpPr>
        <p:spPr>
          <a:xfrm>
            <a:off x="4993174" y="4197677"/>
            <a:ext cx="1036767" cy="369318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LANSERER TV </a:t>
            </a:r>
            <a:b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</a:br>
            <a:r>
              <a:rPr kumimoji="0" lang="nb-NO" sz="9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 Regular"/>
                <a:ea typeface="+mn-ea"/>
                <a:cs typeface="Metric Regular"/>
              </a:rPr>
              <a:t>på IPAD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8B8C7BE-A743-49C1-872E-099420A6B73D}"/>
              </a:ext>
            </a:extLst>
          </p:cNvPr>
          <p:cNvGrpSpPr/>
          <p:nvPr/>
        </p:nvGrpSpPr>
        <p:grpSpPr>
          <a:xfrm>
            <a:off x="7957149" y="4702431"/>
            <a:ext cx="998278" cy="550301"/>
            <a:chOff x="7957149" y="4702431"/>
            <a:chExt cx="998278" cy="550301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D02ACED-F6EC-4AB2-A5C7-6EE9F26961B5}"/>
                </a:ext>
              </a:extLst>
            </p:cNvPr>
            <p:cNvGrpSpPr/>
            <p:nvPr/>
          </p:nvGrpSpPr>
          <p:grpSpPr>
            <a:xfrm>
              <a:off x="7957149" y="4702431"/>
              <a:ext cx="998278" cy="550301"/>
              <a:chOff x="-1529057" y="-823004"/>
              <a:chExt cx="5597432" cy="3085585"/>
            </a:xfrm>
          </p:grpSpPr>
          <p:pic>
            <p:nvPicPr>
              <p:cNvPr id="176" name="Image" descr="Image">
                <a:extLst>
                  <a:ext uri="{FF2B5EF4-FFF2-40B4-BE49-F238E27FC236}">
                    <a16:creationId xmlns:a16="http://schemas.microsoft.com/office/drawing/2014/main" id="{B4921F29-8180-4544-A2C4-507C6E1C16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529057" y="-823004"/>
                <a:ext cx="4434868" cy="290728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grpSp>
            <p:nvGrpSpPr>
              <p:cNvPr id="177" name="Group">
                <a:extLst>
                  <a:ext uri="{FF2B5EF4-FFF2-40B4-BE49-F238E27FC236}">
                    <a16:creationId xmlns:a16="http://schemas.microsoft.com/office/drawing/2014/main" id="{94B16918-2F5C-458A-ABFD-477BEC67B9D0}"/>
                  </a:ext>
                </a:extLst>
              </p:cNvPr>
              <p:cNvGrpSpPr/>
              <p:nvPr/>
            </p:nvGrpSpPr>
            <p:grpSpPr>
              <a:xfrm>
                <a:off x="1185484" y="-61688"/>
                <a:ext cx="2882891" cy="2324269"/>
                <a:chOff x="0" y="0"/>
                <a:chExt cx="7261430" cy="5854371"/>
              </a:xfrm>
            </p:grpSpPr>
            <p:grpSp>
              <p:nvGrpSpPr>
                <p:cNvPr id="178" name="Group">
                  <a:extLst>
                    <a:ext uri="{FF2B5EF4-FFF2-40B4-BE49-F238E27FC236}">
                      <a16:creationId xmlns:a16="http://schemas.microsoft.com/office/drawing/2014/main" id="{FEAC9F76-4337-4AAF-898D-CE297EAAEBC1}"/>
                    </a:ext>
                  </a:extLst>
                </p:cNvPr>
                <p:cNvGrpSpPr/>
                <p:nvPr/>
              </p:nvGrpSpPr>
              <p:grpSpPr>
                <a:xfrm>
                  <a:off x="263616" y="246996"/>
                  <a:ext cx="6528946" cy="3912993"/>
                  <a:chOff x="0" y="0"/>
                  <a:chExt cx="6528944" cy="3912991"/>
                </a:xfrm>
              </p:grpSpPr>
              <p:pic>
                <p:nvPicPr>
                  <p:cNvPr id="180" name="Image" descr="Image">
                    <a:extLst>
                      <a:ext uri="{FF2B5EF4-FFF2-40B4-BE49-F238E27FC236}">
                        <a16:creationId xmlns:a16="http://schemas.microsoft.com/office/drawing/2014/main" id="{91B698BD-50C2-4690-B18B-F28020AD676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>
                  <a:xfrm>
                    <a:off x="0" y="201522"/>
                    <a:ext cx="6528945" cy="3711470"/>
                  </a:xfrm>
                  <a:prstGeom prst="rect">
                    <a:avLst/>
                  </a:prstGeom>
                  <a:ln w="12700" cap="flat">
                    <a:noFill/>
                    <a:miter lim="400000"/>
                  </a:ln>
                  <a:effectLst/>
                </p:spPr>
              </p:pic>
              <p:sp>
                <p:nvSpPr>
                  <p:cNvPr id="181" name="Rectangle">
                    <a:extLst>
                      <a:ext uri="{FF2B5EF4-FFF2-40B4-BE49-F238E27FC236}">
                        <a16:creationId xmlns:a16="http://schemas.microsoft.com/office/drawing/2014/main" id="{D637EC7B-9086-4C57-A678-5A4A42838FE3}"/>
                      </a:ext>
                    </a:extLst>
                  </p:cNvPr>
                  <p:cNvSpPr/>
                  <p:nvPr/>
                </p:nvSpPr>
                <p:spPr>
                  <a:xfrm>
                    <a:off x="10586" y="0"/>
                    <a:ext cx="6518134" cy="204682"/>
                  </a:xfrm>
                  <a:prstGeom prst="rect">
                    <a:avLst/>
                  </a:prstGeom>
                  <a:solidFill>
                    <a:srgbClr val="0A0A0A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ctr">
                    <a:noAutofit/>
                  </a:bodyPr>
                  <a:lstStyle/>
                  <a:p>
                    <a:pPr marL="0" marR="0" lvl="0" indent="0" algn="ctr" defTabSz="309563" rtl="0" eaLnBrk="1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3200" b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  <a:sym typeface="Helvetica Neue Medium"/>
                      </a:defRPr>
                    </a:pPr>
                    <a:endParaRPr kumimoji="0" sz="12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Helvetica Neue Medium"/>
                      <a:ea typeface="+mn-ea"/>
                      <a:cs typeface="+mn-cs"/>
                      <a:sym typeface="Helvetica Neue Medium"/>
                    </a:endParaRPr>
                  </a:p>
                </p:txBody>
              </p:sp>
            </p:grpSp>
            <p:pic>
              <p:nvPicPr>
                <p:cNvPr id="179" name="Image" descr="Image">
                  <a:extLst>
                    <a:ext uri="{FF2B5EF4-FFF2-40B4-BE49-F238E27FC236}">
                      <a16:creationId xmlns:a16="http://schemas.microsoft.com/office/drawing/2014/main" id="{FBF8853C-5FB5-4FFD-A626-B3171178B6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extLst/>
                </a:blip>
                <a:stretch>
                  <a:fillRect/>
                </a:stretch>
              </p:blipFill>
              <p:spPr>
                <a:xfrm>
                  <a:off x="0" y="0"/>
                  <a:ext cx="7261431" cy="5854372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  <p:pic>
          <p:nvPicPr>
            <p:cNvPr id="185" name="Picture 4" descr="http://n4f.no/konkurranse/hbo_nordic.png">
              <a:extLst>
                <a:ext uri="{FF2B5EF4-FFF2-40B4-BE49-F238E27FC236}">
                  <a16:creationId xmlns:a16="http://schemas.microsoft.com/office/drawing/2014/main" id="{04AC34F5-F25C-4FB9-8F1F-9C3E4CCA77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7047" y="4912294"/>
              <a:ext cx="170782" cy="1218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76834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PILOT I GET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284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75976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44000" cy="5759762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83000"/>
                </a:schemeClr>
              </a:gs>
              <a:gs pos="0">
                <a:schemeClr val="tx1">
                  <a:alpha val="54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68272"/>
            <a:ext cx="9144000" cy="323166"/>
          </a:xfrm>
        </p:spPr>
        <p:txBody>
          <a:bodyPr>
            <a:noAutofit/>
          </a:bodyPr>
          <a:lstStyle/>
          <a:p>
            <a:r>
              <a:rPr lang="nb-NO" sz="2600" dirty="0">
                <a:solidFill>
                  <a:schemeClr val="bg1"/>
                </a:solidFill>
                <a:latin typeface="Metric Thin"/>
              </a:rPr>
              <a:t>PILOT I GET </a:t>
            </a:r>
            <a:br>
              <a:rPr lang="nb-NO" sz="2600" dirty="0">
                <a:solidFill>
                  <a:schemeClr val="bg1"/>
                </a:solidFill>
                <a:latin typeface="Metric Thin"/>
              </a:rPr>
            </a:br>
            <a:r>
              <a:rPr lang="nb-NO" sz="105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Vettre </a:t>
            </a:r>
            <a:r>
              <a:rPr lang="nb-NO" sz="1050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antennelag</a:t>
            </a:r>
            <a:r>
              <a:rPr lang="nb-NO" sz="105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, blant de første med det nyeste FRA GET </a:t>
            </a:r>
            <a:endParaRPr lang="en-US" sz="140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7647" y="3062122"/>
            <a:ext cx="399799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i </a:t>
            </a:r>
            <a:r>
              <a:rPr lang="en-US" dirty="0" err="1">
                <a:solidFill>
                  <a:schemeClr val="bg1"/>
                </a:solidFill>
              </a:rPr>
              <a:t>trenger</a:t>
            </a:r>
            <a:r>
              <a:rPr lang="en-US" dirty="0">
                <a:solidFill>
                  <a:schemeClr val="bg1"/>
                </a:solidFill>
              </a:rPr>
              <a:t> din </a:t>
            </a:r>
            <a:r>
              <a:rPr lang="en-US" dirty="0" err="1">
                <a:solidFill>
                  <a:schemeClr val="bg1"/>
                </a:solidFill>
              </a:rPr>
              <a:t>hjelp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l</a:t>
            </a:r>
            <a:r>
              <a:rPr lang="en-US" dirty="0">
                <a:solidFill>
                  <a:schemeClr val="bg1"/>
                </a:solidFill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Å </a:t>
            </a:r>
            <a:r>
              <a:rPr lang="en-US" dirty="0" err="1">
                <a:solidFill>
                  <a:schemeClr val="bg1"/>
                </a:solidFill>
              </a:rPr>
              <a:t>vær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øråpner</a:t>
            </a:r>
            <a:r>
              <a:rPr lang="en-US" dirty="0">
                <a:solidFill>
                  <a:schemeClr val="bg1"/>
                </a:solidFill>
              </a:rPr>
              <a:t> for </a:t>
            </a:r>
            <a:r>
              <a:rPr lang="en-US" dirty="0" err="1">
                <a:solidFill>
                  <a:schemeClr val="bg1"/>
                </a:solidFill>
              </a:rPr>
              <a:t>innfør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v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y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eknologi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Å drive </a:t>
            </a:r>
            <a:r>
              <a:rPr lang="en-US" dirty="0" err="1">
                <a:solidFill>
                  <a:schemeClr val="bg1"/>
                </a:solidFill>
              </a:rPr>
              <a:t>optimaliseringsarbeid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tte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ilotfasen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Å </a:t>
            </a:r>
            <a:r>
              <a:rPr lang="en-US" dirty="0" err="1">
                <a:solidFill>
                  <a:schemeClr val="bg1"/>
                </a:solidFill>
              </a:rPr>
              <a:t>få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hjelp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l</a:t>
            </a:r>
            <a:r>
              <a:rPr lang="en-US" dirty="0">
                <a:solidFill>
                  <a:schemeClr val="bg1"/>
                </a:solidFill>
              </a:rPr>
              <a:t> å </a:t>
            </a:r>
            <a:r>
              <a:rPr lang="en-US" dirty="0" err="1">
                <a:solidFill>
                  <a:schemeClr val="bg1"/>
                </a:solidFill>
              </a:rPr>
              <a:t>gjennomfør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nkle</a:t>
            </a:r>
            <a:r>
              <a:rPr lang="en-US" dirty="0">
                <a:solidFill>
                  <a:schemeClr val="bg1"/>
                </a:solidFill>
              </a:rPr>
              <a:t> tester </a:t>
            </a:r>
            <a:r>
              <a:rPr lang="en-US" dirty="0" err="1">
                <a:solidFill>
                  <a:schemeClr val="bg1"/>
                </a:solidFill>
              </a:rPr>
              <a:t>ved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hov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Å </a:t>
            </a:r>
            <a:r>
              <a:rPr lang="en-US" dirty="0" err="1">
                <a:solidFill>
                  <a:schemeClr val="bg1"/>
                </a:solidFill>
              </a:rPr>
              <a:t>få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lbakemeld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å</a:t>
            </a:r>
            <a:r>
              <a:rPr lang="en-US" dirty="0">
                <a:solidFill>
                  <a:schemeClr val="bg1"/>
                </a:solidFill>
              </a:rPr>
              <a:t> den </a:t>
            </a:r>
            <a:r>
              <a:rPr lang="en-US" dirty="0" err="1">
                <a:solidFill>
                  <a:schemeClr val="bg1"/>
                </a:solidFill>
              </a:rPr>
              <a:t>opplevelsen</a:t>
            </a:r>
            <a:r>
              <a:rPr lang="en-US" dirty="0">
                <a:solidFill>
                  <a:schemeClr val="bg1"/>
                </a:solidFill>
              </a:rPr>
              <a:t> du </a:t>
            </a:r>
            <a:r>
              <a:rPr lang="en-US" dirty="0" err="1">
                <a:solidFill>
                  <a:schemeClr val="bg1"/>
                </a:solidFill>
              </a:rPr>
              <a:t>har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       via </a:t>
            </a:r>
            <a:r>
              <a:rPr lang="en-US" dirty="0" err="1">
                <a:solidFill>
                  <a:schemeClr val="bg1"/>
                </a:solidFill>
              </a:rPr>
              <a:t>kort</a:t>
            </a:r>
            <a:r>
              <a:rPr lang="en-US" dirty="0">
                <a:solidFill>
                  <a:schemeClr val="bg1"/>
                </a:solidFill>
              </a:rPr>
              <a:t> Quest Back</a:t>
            </a:r>
          </a:p>
          <a:p>
            <a:endParaRPr lang="en-US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+mj-lt"/>
            </a:endParaRPr>
          </a:p>
          <a:p>
            <a:endParaRPr lang="en-US" dirty="0">
              <a:solidFill>
                <a:schemeClr val="bg1"/>
              </a:solidFill>
              <a:latin typeface="+mj-lt"/>
            </a:endParaRPr>
          </a:p>
          <a:p>
            <a:pPr algn="ctr"/>
            <a:endParaRPr lang="en-US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B9D1D-E277-4352-A9D6-FC158A1AC917}"/>
              </a:ext>
            </a:extLst>
          </p:cNvPr>
          <p:cNvSpPr txBox="1"/>
          <p:nvPr/>
        </p:nvSpPr>
        <p:spPr>
          <a:xfrm>
            <a:off x="4798777" y="3062122"/>
            <a:ext cx="4109479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All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eboer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får</a:t>
            </a:r>
            <a:r>
              <a:rPr lang="en-US" dirty="0">
                <a:solidFill>
                  <a:schemeClr val="bg1"/>
                </a:solidFill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Tilsvarend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hastighete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om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ved</a:t>
            </a:r>
            <a:r>
              <a:rPr lang="en-US" dirty="0">
                <a:solidFill>
                  <a:schemeClr val="bg1"/>
                </a:solidFill>
              </a:rPr>
              <a:t> fiber, men med </a:t>
            </a:r>
            <a:r>
              <a:rPr lang="en-US" dirty="0" err="1">
                <a:solidFill>
                  <a:schemeClr val="bg1"/>
                </a:solidFill>
              </a:rPr>
              <a:t>bruk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v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ksisterend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frastruktur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Tilga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l</a:t>
            </a:r>
            <a:r>
              <a:rPr lang="en-US" dirty="0">
                <a:solidFill>
                  <a:schemeClr val="bg1"/>
                </a:solidFill>
              </a:rPr>
              <a:t> den </a:t>
            </a:r>
            <a:r>
              <a:rPr lang="en-US" dirty="0" err="1">
                <a:solidFill>
                  <a:schemeClr val="bg1"/>
                </a:solidFill>
              </a:rPr>
              <a:t>nyest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eknologien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før</a:t>
            </a:r>
            <a:r>
              <a:rPr lang="en-US" dirty="0">
                <a:solidFill>
                  <a:schemeClr val="bg1"/>
                </a:solidFill>
              </a:rPr>
              <a:t> “</a:t>
            </a:r>
            <a:r>
              <a:rPr lang="en-US" dirty="0" err="1">
                <a:solidFill>
                  <a:schemeClr val="bg1"/>
                </a:solidFill>
              </a:rPr>
              <a:t>all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ndre</a:t>
            </a:r>
            <a:r>
              <a:rPr lang="en-US" dirty="0">
                <a:solidFill>
                  <a:schemeClr val="bg1"/>
                </a:solidFill>
              </a:rPr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Anledn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l</a:t>
            </a:r>
            <a:r>
              <a:rPr lang="en-US" dirty="0">
                <a:solidFill>
                  <a:schemeClr val="bg1"/>
                </a:solidFill>
              </a:rPr>
              <a:t> å “</a:t>
            </a:r>
            <a:r>
              <a:rPr lang="en-US" dirty="0" err="1">
                <a:solidFill>
                  <a:schemeClr val="bg1"/>
                </a:solidFill>
              </a:rPr>
              <a:t>bl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hørt</a:t>
            </a:r>
            <a:r>
              <a:rPr lang="en-US" dirty="0">
                <a:solidFill>
                  <a:schemeClr val="bg1"/>
                </a:solidFill>
              </a:rPr>
              <a:t>” </a:t>
            </a:r>
            <a:r>
              <a:rPr lang="en-US" dirty="0" err="1">
                <a:solidFill>
                  <a:schemeClr val="bg1"/>
                </a:solidFill>
              </a:rPr>
              <a:t>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tablering</a:t>
            </a:r>
            <a:r>
              <a:rPr lang="en-US" dirty="0">
                <a:solidFill>
                  <a:schemeClr val="bg1"/>
                </a:solidFill>
              </a:rPr>
              <a:t> vi </a:t>
            </a:r>
            <a:r>
              <a:rPr lang="en-US" dirty="0" err="1">
                <a:solidFill>
                  <a:schemeClr val="bg1"/>
                </a:solidFill>
              </a:rPr>
              <a:t>gjør</a:t>
            </a:r>
            <a:r>
              <a:rPr lang="en-US" dirty="0">
                <a:solidFill>
                  <a:schemeClr val="bg1"/>
                </a:solidFill>
              </a:rPr>
              <a:t> @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Bedr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me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tabil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pplevels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v</a:t>
            </a:r>
            <a:r>
              <a:rPr lang="en-US" dirty="0">
                <a:solidFill>
                  <a:schemeClr val="bg1"/>
                </a:solidFill>
              </a:rPr>
              <a:t> GETs </a:t>
            </a:r>
            <a:r>
              <a:rPr lang="en-US" dirty="0" err="1">
                <a:solidFill>
                  <a:schemeClr val="bg1"/>
                </a:solidFill>
              </a:rPr>
              <a:t>tjenester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Ekstr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ask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ppmerksomhe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ersom</a:t>
            </a:r>
            <a:r>
              <a:rPr lang="en-US" dirty="0">
                <a:solidFill>
                  <a:schemeClr val="bg1"/>
                </a:solidFill>
              </a:rPr>
              <a:t> “</a:t>
            </a:r>
            <a:r>
              <a:rPr lang="en-US" dirty="0" err="1">
                <a:solidFill>
                  <a:schemeClr val="bg1"/>
                </a:solidFill>
              </a:rPr>
              <a:t>no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gå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galt</a:t>
            </a:r>
            <a:r>
              <a:rPr lang="en-US" dirty="0">
                <a:solidFill>
                  <a:schemeClr val="bg1"/>
                </a:solidFill>
              </a:rPr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Oppgrader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frastruk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ttet</a:t>
            </a:r>
            <a:r>
              <a:rPr lang="en-US" dirty="0">
                <a:solidFill>
                  <a:schemeClr val="bg1"/>
                </a:solidFill>
              </a:rPr>
              <a:t> for </a:t>
            </a:r>
            <a:r>
              <a:rPr lang="en-US" dirty="0" err="1">
                <a:solidFill>
                  <a:schemeClr val="bg1"/>
                </a:solidFill>
              </a:rPr>
              <a:t>borettslaget</a:t>
            </a:r>
            <a:r>
              <a:rPr lang="en-US" dirty="0">
                <a:solidFill>
                  <a:schemeClr val="bg1"/>
                </a:solidFill>
              </a:rPr>
              <a:t> –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vederlagsfritt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+mj-lt"/>
            </a:endParaRPr>
          </a:p>
          <a:p>
            <a:endParaRPr lang="en-US" dirty="0">
              <a:solidFill>
                <a:schemeClr val="bg1"/>
              </a:solidFill>
              <a:latin typeface="+mj-lt"/>
            </a:endParaRPr>
          </a:p>
          <a:p>
            <a:pPr algn="ctr"/>
            <a:endParaRPr lang="en-US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15264F1-5BA6-41CC-A35E-99DDB812E034}"/>
              </a:ext>
            </a:extLst>
          </p:cNvPr>
          <p:cNvSpPr txBox="1"/>
          <p:nvPr/>
        </p:nvSpPr>
        <p:spPr>
          <a:xfrm>
            <a:off x="1607128" y="1288476"/>
            <a:ext cx="607521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Pilot benyttes ved innføring av ny teknologi for å sikre trygg utbygging når større utrulling skal finne sted – Get skal oppgradere ca. 500.000 kunder de neste 3 år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Pilot benyttes når ny teknologi er kvalifisert og testet i lab og er klar for «det virkelige liv» - vi får unik læring når vi gjennomfører pilotprosjekter, som det er vanskelig å oppnå i l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bg1"/>
                </a:solidFill>
              </a:rPr>
              <a:t>Pilot gjennomføres for å sikre trygghet for sikker utbygging av bærekraftig infrastruktur 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664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382"/>
          <p:cNvGrpSpPr/>
          <p:nvPr/>
        </p:nvGrpSpPr>
        <p:grpSpPr>
          <a:xfrm>
            <a:off x="-91123" y="57915"/>
            <a:ext cx="10171362" cy="5880795"/>
            <a:chOff x="177799" y="52916"/>
            <a:chExt cx="20320006" cy="11430002"/>
          </a:xfrm>
        </p:grpSpPr>
        <p:pic>
          <p:nvPicPr>
            <p:cNvPr id="60" name="superspeed_background.jpeg" descr="superspeed_background.jpg"/>
            <p:cNvPicPr/>
            <p:nvPr/>
          </p:nvPicPr>
          <p:blipFill>
            <a:blip r:embed="rId7">
              <a:extLst/>
            </a:blip>
            <a:stretch>
              <a:fillRect/>
            </a:stretch>
          </p:blipFill>
          <p:spPr>
            <a:xfrm>
              <a:off x="177800" y="52916"/>
              <a:ext cx="20320001" cy="11430001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61" name="Shape 381"/>
            <p:cNvSpPr/>
            <p:nvPr/>
          </p:nvSpPr>
          <p:spPr>
            <a:xfrm>
              <a:off x="177799" y="68081"/>
              <a:ext cx="20320006" cy="11414837"/>
            </a:xfrm>
            <a:prstGeom prst="rect">
              <a:avLst/>
            </a:prstGeom>
            <a:solidFill>
              <a:srgbClr val="000000">
                <a:alpha val="32514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42333" tIns="42333" rIns="42333" bIns="42333" numCol="1" anchor="ctr">
              <a:noAutofit/>
            </a:bodyPr>
            <a:lstStyle/>
            <a:p>
              <a:pPr lvl="0" defTabSz="825500">
                <a:defRPr sz="2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-221838" y="2102497"/>
            <a:ext cx="958767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Bold" pitchFamily="34" charset="0"/>
              </a:rPr>
              <a:t>PRODUKT</a:t>
            </a:r>
            <a:endParaRPr lang="nb-NO" sz="1800" dirty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656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8100"/>
            <a:ext cx="9144000" cy="57531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-38100"/>
            <a:ext cx="9144000" cy="5753100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60000"/>
                </a:schemeClr>
              </a:gs>
              <a:gs pos="0">
                <a:schemeClr val="tx1">
                  <a:alpha val="60000"/>
                </a:schemeClr>
              </a:gs>
            </a:gsLst>
            <a:lin ang="27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TextBox 6"/>
          <p:cNvSpPr txBox="1"/>
          <p:nvPr/>
        </p:nvSpPr>
        <p:spPr>
          <a:xfrm>
            <a:off x="0" y="147497"/>
            <a:ext cx="9144000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nb-NO" sz="5400" dirty="0">
                <a:solidFill>
                  <a:schemeClr val="bg1"/>
                </a:solidFill>
                <a:latin typeface="Metric Thin" panose="020B0403030202060203" pitchFamily="34" charset="0"/>
              </a:rPr>
              <a:t>NYTT PRODUKT</a:t>
            </a:r>
            <a:endParaRPr lang="nb-NO" sz="1800" dirty="0">
              <a:solidFill>
                <a:schemeClr val="bg1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r>
              <a:rPr lang="nb-NO" sz="3200" dirty="0">
                <a:solidFill>
                  <a:schemeClr val="bg1"/>
                </a:solidFill>
                <a:latin typeface="Metric Bold" pitchFamily="34" charset="0"/>
              </a:rPr>
              <a:t> </a:t>
            </a:r>
            <a:endParaRPr lang="en-US" sz="2800" dirty="0">
              <a:solidFill>
                <a:schemeClr val="bg1"/>
              </a:solidFill>
              <a:latin typeface="Metric Bold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8B0984-87F5-4CCA-A3DC-78945C75E0EF}"/>
              </a:ext>
            </a:extLst>
          </p:cNvPr>
          <p:cNvSpPr txBox="1"/>
          <p:nvPr/>
        </p:nvSpPr>
        <p:spPr>
          <a:xfrm>
            <a:off x="0" y="1537855"/>
            <a:ext cx="914400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nytt modem med markedets «sprekeste» WIFI-løsning </a:t>
            </a:r>
          </a:p>
          <a:p>
            <a:pPr marL="642303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Modem beholdes etter pil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høyere kollektiv hastighet i 6 </a:t>
            </a:r>
            <a:r>
              <a:rPr lang="nb-NO" sz="1800" dirty="0" err="1">
                <a:solidFill>
                  <a:schemeClr val="bg1"/>
                </a:solidFill>
              </a:rPr>
              <a:t>mnd</a:t>
            </a:r>
            <a:r>
              <a:rPr lang="nb-NO" sz="1800" dirty="0">
                <a:solidFill>
                  <a:schemeClr val="bg1"/>
                </a:solidFill>
              </a:rPr>
              <a:t> etter at ombyggingen er ferdig</a:t>
            </a:r>
          </a:p>
          <a:p>
            <a:pPr marL="642303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1Gbps nedstrøms </a:t>
            </a:r>
          </a:p>
          <a:p>
            <a:pPr marL="642303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50Mbps oppstrøm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får mer stabile tjenester fra G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Pilot gjennomføres hos deg uten ekstra kostnad</a:t>
            </a:r>
          </a:p>
          <a:p>
            <a:pPr marL="642303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Du betaler det samme som du gjør nå i pilotperioden</a:t>
            </a:r>
          </a:p>
          <a:p>
            <a:pPr marL="642303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chemeClr val="bg1"/>
                </a:solidFill>
              </a:rPr>
              <a:t>Når piloten er gjennomført blir du tilbakeført til eksisterende produkt med mindre du ønsker noe annet – enten kollektivt eller individuelt</a:t>
            </a:r>
          </a:p>
          <a:p>
            <a:r>
              <a:rPr lang="nb-NO" sz="1800" dirty="0">
                <a:solidFill>
                  <a:schemeClr val="bg1"/>
                </a:solidFill>
              </a:rPr>
              <a:t> </a:t>
            </a:r>
          </a:p>
          <a:p>
            <a:endParaRPr lang="nb-NO" sz="18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500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2&quot;&gt;&lt;elem m_fUsage=&quot;8.42038035777739860000E+000&quot;&gt;&lt;m_msothmcolidx val=&quot;0&quot;/&gt;&lt;m_rgb r=&quot;fa&quot; g=&quot;dc&quot; b=&quot;0&quot;/&gt;&lt;m_ppcolschidx tagver0=&quot;23004&quot; tagname0=&quot;m_ppcolschidxUNRECOGNIZED&quot; val=&quot;0&quot;/&gt;&lt;m_nBrightness val=&quot;0&quot;/&gt;&lt;/elem&gt;&lt;elem m_fUsage=&quot;2.28767924549610120000E-001&quot;&gt;&lt;m_msothmcolidx val=&quot;0&quot;/&gt;&lt;m_rgb r=&quot;f4&quot; g=&quot;a3&quot; b=&quot;3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OeRYrQTkqDCv33xqTO5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10.xml><?xml version="1.0" encoding="utf-8"?>
<a:theme xmlns:a="http://schemas.openxmlformats.org/drawingml/2006/main" name="7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11.xml><?xml version="1.0" encoding="utf-8"?>
<a:theme xmlns:a="http://schemas.openxmlformats.org/drawingml/2006/main" name="8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12.xml><?xml version="1.0" encoding="utf-8"?>
<a:theme xmlns:a="http://schemas.openxmlformats.org/drawingml/2006/main" name="1_Content Slides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B44BD411-126A-41C0-966C-632D076FE262}"/>
    </a:ext>
  </a:extLst>
</a:theme>
</file>

<file path=ppt/theme/theme13.xml><?xml version="1.0" encoding="utf-8"?>
<a:theme xmlns:a="http://schemas.openxmlformats.org/drawingml/2006/main" name="2_Content Slides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B44BD411-126A-41C0-966C-632D076FE262}"/>
    </a:ext>
  </a:extLst>
</a:theme>
</file>

<file path=ppt/theme/theme14.xml><?xml version="1.0" encoding="utf-8"?>
<a:theme xmlns:a="http://schemas.openxmlformats.org/drawingml/2006/main" name="3_Content Slides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B44BD411-126A-41C0-966C-632D076FE262}"/>
    </a:ext>
  </a:extLst>
</a:theme>
</file>

<file path=ppt/theme/theme15.xml><?xml version="1.0" encoding="utf-8"?>
<a:theme xmlns:a="http://schemas.openxmlformats.org/drawingml/2006/main" name="9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16.xml><?xml version="1.0" encoding="utf-8"?>
<a:theme xmlns:a="http://schemas.openxmlformats.org/drawingml/2006/main" name="10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17.xml><?xml version="1.0" encoding="utf-8"?>
<a:theme xmlns:a="http://schemas.openxmlformats.org/drawingml/2006/main" name="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owerpoint [Read-Only]" id="{C971C7AA-A894-49B8-9B6A-D8D42AA66976}" vid="{E21EB457-F623-4EF5-AB72-47D2C86DF0BF}"/>
    </a:ext>
  </a:extLst>
</a:theme>
</file>

<file path=ppt/theme/theme18.xml><?xml version="1.0" encoding="utf-8"?>
<a:theme xmlns:a="http://schemas.openxmlformats.org/drawingml/2006/main" name="1_Alternative black slides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3DB802A8-2F35-4F99-AC55-1E0E9D37B635}"/>
    </a:ext>
  </a:extLst>
</a:theme>
</file>

<file path=ppt/theme/theme19.xml><?xml version="1.0" encoding="utf-8"?>
<a:theme xmlns:a="http://schemas.openxmlformats.org/drawingml/2006/main" name="11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2.xml><?xml version="1.0" encoding="utf-8"?>
<a:theme xmlns:a="http://schemas.openxmlformats.org/drawingml/2006/main" name="Content Slides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B44BD411-126A-41C0-966C-632D076FE262}"/>
    </a:ext>
  </a:extLst>
</a:theme>
</file>

<file path=ppt/theme/theme20.xml><?xml version="1.0" encoding="utf-8"?>
<a:theme xmlns:a="http://schemas.openxmlformats.org/drawingml/2006/main" name="12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21.xml><?xml version="1.0" encoding="utf-8"?>
<a:theme xmlns:a="http://schemas.openxmlformats.org/drawingml/2006/main" name="1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owerpoint [Read-Only]" id="{C971C7AA-A894-49B8-9B6A-D8D42AA66976}" vid="{E21EB457-F623-4EF5-AB72-47D2C86DF0BF}"/>
    </a:ext>
  </a:extLst>
</a:theme>
</file>

<file path=ppt/theme/theme22.xml><?xml version="1.0" encoding="utf-8"?>
<a:theme xmlns:a="http://schemas.openxmlformats.org/drawingml/2006/main" name="2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owerpoint [Read-Only]" id="{C971C7AA-A894-49B8-9B6A-D8D42AA66976}" vid="{E21EB457-F623-4EF5-AB72-47D2C86DF0BF}"/>
    </a:ext>
  </a:extLst>
</a:theme>
</file>

<file path=ppt/theme/theme23.xml><?xml version="1.0" encoding="utf-8"?>
<a:theme xmlns:a="http://schemas.openxmlformats.org/drawingml/2006/main" name="13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24.xml><?xml version="1.0" encoding="utf-8"?>
<a:theme xmlns:a="http://schemas.openxmlformats.org/drawingml/2006/main" name="8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TDC_PPT_Final_2016V5_MidtstiltV2.potx" id="{2EB087B5-A2CA-4EC7-ADC9-4FD4B787EF59}" vid="{A67AE844-840C-435A-8F3C-F0E4AFE926C7}"/>
    </a:ext>
  </a:extLst>
</a:theme>
</file>

<file path=ppt/theme/theme25.xml><?xml version="1.0" encoding="utf-8"?>
<a:theme xmlns:a="http://schemas.openxmlformats.org/drawingml/2006/main" name="4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owerpoint [Read-Only]" id="{C971C7AA-A894-49B8-9B6A-D8D42AA66976}" vid="{E21EB457-F623-4EF5-AB72-47D2C86DF0BF}"/>
    </a:ext>
  </a:extLst>
</a:theme>
</file>

<file path=ppt/theme/theme26.xml><?xml version="1.0" encoding="utf-8"?>
<a:theme xmlns:a="http://schemas.openxmlformats.org/drawingml/2006/main" name="9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TDC_PPT_Final_2016V5_MidtstiltV2.potx" id="{2EB087B5-A2CA-4EC7-ADC9-4FD4B787EF59}" vid="{A67AE844-840C-435A-8F3C-F0E4AFE926C7}"/>
    </a:ext>
  </a:extLst>
</a:theme>
</file>

<file path=ppt/theme/theme27.xml><?xml version="1.0" encoding="utf-8"?>
<a:theme xmlns:a="http://schemas.openxmlformats.org/drawingml/2006/main" name="14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28.xml><?xml version="1.0" encoding="utf-8"?>
<a:theme xmlns:a="http://schemas.openxmlformats.org/drawingml/2006/main" name="7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177800" indent="-177800">
          <a:buFont typeface="Arial" panose="020B0604020202020204" pitchFamily="34" charset="0"/>
          <a:buChar char="•"/>
          <a:defRPr sz="1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 w="3175">
          <a:noFill/>
          <a:miter lim="800000"/>
          <a:headEnd/>
          <a:tailEnd/>
        </a:ln>
      </a:spPr>
      <a:bodyPr wrap="square" rtlCol="0" anchor="t">
        <a:noAutofit/>
      </a:bodyPr>
      <a:lstStyle>
        <a:defPPr>
          <a:defRPr sz="8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et_PPT_Final_2016V4.potx" id="{FCE9C77C-93C3-4C3B-A76F-90AB7CE04C0F}" vid="{2A19BA66-549B-4F3D-82B0-0C1899F5D2D4}"/>
    </a:ext>
  </a:extLst>
</a:theme>
</file>

<file path=ppt/theme/theme29.xml><?xml version="1.0" encoding="utf-8"?>
<a:theme xmlns:a="http://schemas.openxmlformats.org/drawingml/2006/main" name="15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3.xml><?xml version="1.0" encoding="utf-8"?>
<a:theme xmlns:a="http://schemas.openxmlformats.org/drawingml/2006/main" name="Alternative black slides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3DB802A8-2F35-4F99-AC55-1E0E9D37B635}"/>
    </a:ext>
  </a:extLst>
</a:theme>
</file>

<file path=ppt/theme/theme30.xml><?xml version="1.0" encoding="utf-8"?>
<a:theme xmlns:a="http://schemas.openxmlformats.org/drawingml/2006/main" name="16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31.xml><?xml version="1.0" encoding="utf-8"?>
<a:theme xmlns:a="http://schemas.openxmlformats.org/drawingml/2006/main" name="6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TDC_PPT_Final_2016V5_MidtstiltV2.potx" id="{2EB087B5-A2CA-4EC7-ADC9-4FD4B787EF59}" vid="{A67AE844-840C-435A-8F3C-F0E4AFE926C7}"/>
    </a:ext>
  </a:extLst>
</a:theme>
</file>

<file path=ppt/theme/theme32.xml><?xml version="1.0" encoding="utf-8"?>
<a:theme xmlns:a="http://schemas.openxmlformats.org/drawingml/2006/main" name="3_GET Power Poin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owerpoint [Read-Only]" id="{C971C7AA-A894-49B8-9B6A-D8D42AA66976}" vid="{E21EB457-F623-4EF5-AB72-47D2C86DF0BF}"/>
    </a:ext>
  </a:extLst>
</a:theme>
</file>

<file path=ppt/theme/theme3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5.xml><?xml version="1.0" encoding="utf-8"?>
<a:theme xmlns:a="http://schemas.openxmlformats.org/drawingml/2006/main" name="2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6.xml><?xml version="1.0" encoding="utf-8"?>
<a:theme xmlns:a="http://schemas.openxmlformats.org/drawingml/2006/main" name="3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7.xml><?xml version="1.0" encoding="utf-8"?>
<a:theme xmlns:a="http://schemas.openxmlformats.org/drawingml/2006/main" name="4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8.xml><?xml version="1.0" encoding="utf-8"?>
<a:theme xmlns:a="http://schemas.openxmlformats.org/drawingml/2006/main" name="5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9.xml><?xml version="1.0" encoding="utf-8"?>
<a:theme xmlns:a="http://schemas.openxmlformats.org/drawingml/2006/main" name="6_Get_PPT">
  <a:themeElements>
    <a:clrScheme name="Get">
      <a:dk1>
        <a:sysClr val="windowText" lastClr="000000"/>
      </a:dk1>
      <a:lt1>
        <a:sysClr val="window" lastClr="FFFFFF"/>
      </a:lt1>
      <a:dk2>
        <a:srgbClr val="3F3F3F"/>
      </a:dk2>
      <a:lt2>
        <a:srgbClr val="F2F2F2"/>
      </a:lt2>
      <a:accent1>
        <a:srgbClr val="928D89"/>
      </a:accent1>
      <a:accent2>
        <a:srgbClr val="FFDC00"/>
      </a:accent2>
      <a:accent3>
        <a:srgbClr val="CBCCC4"/>
      </a:accent3>
      <a:accent4>
        <a:srgbClr val="00B6CA"/>
      </a:accent4>
      <a:accent5>
        <a:srgbClr val="F41C50"/>
      </a:accent5>
      <a:accent6>
        <a:srgbClr val="A0025A"/>
      </a:accent6>
      <a:hlink>
        <a:srgbClr val="0563C1"/>
      </a:hlink>
      <a:folHlink>
        <a:srgbClr val="954F72"/>
      </a:folHlink>
    </a:clrScheme>
    <a:fontScheme name="Egendefinert 1">
      <a:majorFont>
        <a:latin typeface="Metric Semibold"/>
        <a:ea typeface=""/>
        <a:cs typeface=""/>
      </a:majorFont>
      <a:minorFont>
        <a:latin typeface="Metr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et_PPT_justert_v9.2.potx" id="{96F1741A-C9D2-4951-8225-90B581F55810}" vid="{7FBB1508-C90E-46BF-AB23-FA2C2286F07D}"/>
    </a:ext>
  </a:extLst>
</a:theme>
</file>

<file path=ppt/theme/themeOverride1.xml><?xml version="1.0" encoding="utf-8"?>
<a:themeOverride xmlns:a="http://schemas.openxmlformats.org/drawingml/2006/main">
  <a:clrScheme name="Get">
    <a:dk1>
      <a:sysClr val="windowText" lastClr="000000"/>
    </a:dk1>
    <a:lt1>
      <a:sysClr val="window" lastClr="FFFFFF"/>
    </a:lt1>
    <a:dk2>
      <a:srgbClr val="3F3F3F"/>
    </a:dk2>
    <a:lt2>
      <a:srgbClr val="F2F2F2"/>
    </a:lt2>
    <a:accent1>
      <a:srgbClr val="928D89"/>
    </a:accent1>
    <a:accent2>
      <a:srgbClr val="FFDC00"/>
    </a:accent2>
    <a:accent3>
      <a:srgbClr val="CBCCC4"/>
    </a:accent3>
    <a:accent4>
      <a:srgbClr val="00B6CA"/>
    </a:accent4>
    <a:accent5>
      <a:srgbClr val="F41C50"/>
    </a:accent5>
    <a:accent6>
      <a:srgbClr val="A0025A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Get">
    <a:dk1>
      <a:sysClr val="windowText" lastClr="000000"/>
    </a:dk1>
    <a:lt1>
      <a:sysClr val="window" lastClr="FFFFFF"/>
    </a:lt1>
    <a:dk2>
      <a:srgbClr val="3F3F3F"/>
    </a:dk2>
    <a:lt2>
      <a:srgbClr val="F2F2F2"/>
    </a:lt2>
    <a:accent1>
      <a:srgbClr val="928D89"/>
    </a:accent1>
    <a:accent2>
      <a:srgbClr val="FFDC00"/>
    </a:accent2>
    <a:accent3>
      <a:srgbClr val="CBCCC4"/>
    </a:accent3>
    <a:accent4>
      <a:srgbClr val="00B6CA"/>
    </a:accent4>
    <a:accent5>
      <a:srgbClr val="F41C50"/>
    </a:accent5>
    <a:accent6>
      <a:srgbClr val="A0025A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85AA6231B9CD74890398622E43098F8" ma:contentTypeVersion="4" ma:contentTypeDescription="Opprett et nytt dokument." ma:contentTypeScope="" ma:versionID="d2156570e0d685a9bd61a23d0ceb25b5">
  <xsd:schema xmlns:xsd="http://www.w3.org/2001/XMLSchema" xmlns:xs="http://www.w3.org/2001/XMLSchema" xmlns:p="http://schemas.microsoft.com/office/2006/metadata/properties" xmlns:ns2="c844690a-d038-44c3-b0ae-3f7e1143269d" xmlns:ns3="fe997cc7-fff1-4bd5-a11e-19380169f6c2" targetNamespace="http://schemas.microsoft.com/office/2006/metadata/properties" ma:root="true" ma:fieldsID="d2806548230285bd0d1cb459d9305291" ns2:_="" ns3:_="">
    <xsd:import namespace="c844690a-d038-44c3-b0ae-3f7e1143269d"/>
    <xsd:import namespace="fe997cc7-fff1-4bd5-a11e-19380169f6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44690a-d038-44c3-b0ae-3f7e114326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997cc7-fff1-4bd5-a11e-19380169f6c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06118C8-4B26-4485-A743-B92A90719F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F67865-B077-48A5-909A-F035229383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44690a-d038-44c3-b0ae-3f7e1143269d"/>
    <ds:schemaRef ds:uri="fe997cc7-fff1-4bd5-a11e-19380169f6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5FD64D-4E48-436F-927D-320B9D282A21}">
  <ds:schemaRefs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terms/"/>
    <ds:schemaRef ds:uri="fe997cc7-fff1-4bd5-a11e-19380169f6c2"/>
    <ds:schemaRef ds:uri="c844690a-d038-44c3-b0ae-3f7e1143269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et_PPT</Template>
  <TotalTime>94848</TotalTime>
  <Words>1174</Words>
  <Application>Microsoft Office PowerPoint</Application>
  <PresentationFormat>On-screen Show (16:10)</PresentationFormat>
  <Paragraphs>260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68" baseType="lpstr">
      <vt:lpstr>ＭＳ Ｐゴシック</vt:lpstr>
      <vt:lpstr>Aharoni</vt:lpstr>
      <vt:lpstr>Arial</vt:lpstr>
      <vt:lpstr>Calibri</vt:lpstr>
      <vt:lpstr>Helvetica Light</vt:lpstr>
      <vt:lpstr>Helvetica Neue Medium</vt:lpstr>
      <vt:lpstr>Kozuka Gothic Pro H</vt:lpstr>
      <vt:lpstr>Kozuka Gothic Pro L</vt:lpstr>
      <vt:lpstr>Lucida Grande</vt:lpstr>
      <vt:lpstr>Metric Bold</vt:lpstr>
      <vt:lpstr>Metric Light</vt:lpstr>
      <vt:lpstr>Metric Medium</vt:lpstr>
      <vt:lpstr>Metric Regular</vt:lpstr>
      <vt:lpstr>Metric Semibold</vt:lpstr>
      <vt:lpstr>Metric Thin</vt:lpstr>
      <vt:lpstr>Times New Roman</vt:lpstr>
      <vt:lpstr>Get_PPT</vt:lpstr>
      <vt:lpstr>Content Slides</vt:lpstr>
      <vt:lpstr>Alternative black slides</vt:lpstr>
      <vt:lpstr>1_Get_PPT</vt:lpstr>
      <vt:lpstr>2_Get_PPT</vt:lpstr>
      <vt:lpstr>3_Get_PPT</vt:lpstr>
      <vt:lpstr>4_Get_PPT</vt:lpstr>
      <vt:lpstr>5_Get_PPT</vt:lpstr>
      <vt:lpstr>6_Get_PPT</vt:lpstr>
      <vt:lpstr>7_Get_PPT</vt:lpstr>
      <vt:lpstr>8_Get_PPT</vt:lpstr>
      <vt:lpstr>1_Content Slides</vt:lpstr>
      <vt:lpstr>2_Content Slides</vt:lpstr>
      <vt:lpstr>3_Content Slides</vt:lpstr>
      <vt:lpstr>9_Get_PPT</vt:lpstr>
      <vt:lpstr>10_Get_PPT</vt:lpstr>
      <vt:lpstr>GET Power Point</vt:lpstr>
      <vt:lpstr>1_Alternative black slides</vt:lpstr>
      <vt:lpstr>11_Get_PPT</vt:lpstr>
      <vt:lpstr>12_Get_PPT</vt:lpstr>
      <vt:lpstr>1_GET Power Point</vt:lpstr>
      <vt:lpstr>2_GET Power Point</vt:lpstr>
      <vt:lpstr>13_Get_PPT</vt:lpstr>
      <vt:lpstr>8_GET Power Point</vt:lpstr>
      <vt:lpstr>4_GET Power Point</vt:lpstr>
      <vt:lpstr>9_GET Power Point</vt:lpstr>
      <vt:lpstr>14_Get_PPT</vt:lpstr>
      <vt:lpstr>7_GET Power Point</vt:lpstr>
      <vt:lpstr>15_Get_PPT</vt:lpstr>
      <vt:lpstr>16_Get_PPT</vt:lpstr>
      <vt:lpstr>6_GET Power Point</vt:lpstr>
      <vt:lpstr>3_GET Power Point</vt:lpstr>
      <vt:lpstr>think-cell Slide</vt:lpstr>
      <vt:lpstr>PowerPoint Presentation</vt:lpstr>
      <vt:lpstr>PowerPoint Presentation</vt:lpstr>
      <vt:lpstr>PowerPoint Presentation</vt:lpstr>
      <vt:lpstr>BOLIGSELSKAPSSPESIALISTEN GET</vt:lpstr>
      <vt:lpstr>Kundedrevet INNOVASJON</vt:lpstr>
      <vt:lpstr>PowerPoint Presentation</vt:lpstr>
      <vt:lpstr>PILOT I GET  Vettre antennelag, blant de første med det nyeste FRA GE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Get 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vedlinjer fra tilbudet</dc:title>
  <dc:creator>Strand, Thor-Einar</dc:creator>
  <dc:description>Template by addpoint.no</dc:description>
  <cp:lastModifiedBy>Berntzen, Olav Stian</cp:lastModifiedBy>
  <cp:revision>1387</cp:revision>
  <cp:lastPrinted>2015-03-27T09:33:17Z</cp:lastPrinted>
  <dcterms:created xsi:type="dcterms:W3CDTF">2014-11-19T11:31:44Z</dcterms:created>
  <dcterms:modified xsi:type="dcterms:W3CDTF">2018-10-11T13:1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ContentTypeId">
    <vt:lpwstr>0x010100685AA6231B9CD74890398622E43098F8</vt:lpwstr>
  </property>
</Properties>
</file>